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 varScale="1">
        <p:scale>
          <a:sx n="89" d="100"/>
          <a:sy n="89" d="100"/>
        </p:scale>
        <p:origin x="58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evelopment\python\beamcorrection_port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First 2 Pings show noisy data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8.5</c:v>
                </c:pt>
                <c:pt idx="1">
                  <c:v>16</c:v>
                </c:pt>
                <c:pt idx="2">
                  <c:v>17</c:v>
                </c:pt>
                <c:pt idx="3">
                  <c:v>17</c:v>
                </c:pt>
                <c:pt idx="4">
                  <c:v>21</c:v>
                </c:pt>
                <c:pt idx="5">
                  <c:v>22.5</c:v>
                </c:pt>
                <c:pt idx="6">
                  <c:v>26</c:v>
                </c:pt>
                <c:pt idx="7">
                  <c:v>22.5</c:v>
                </c:pt>
                <c:pt idx="8">
                  <c:v>24</c:v>
                </c:pt>
                <c:pt idx="9">
                  <c:v>22.5</c:v>
                </c:pt>
                <c:pt idx="10">
                  <c:v>16</c:v>
                </c:pt>
                <c:pt idx="11">
                  <c:v>13</c:v>
                </c:pt>
                <c:pt idx="12">
                  <c:v>16.5</c:v>
                </c:pt>
                <c:pt idx="13">
                  <c:v>22.5</c:v>
                </c:pt>
                <c:pt idx="14">
                  <c:v>20.5</c:v>
                </c:pt>
                <c:pt idx="15">
                  <c:v>16.5</c:v>
                </c:pt>
                <c:pt idx="16">
                  <c:v>11</c:v>
                </c:pt>
                <c:pt idx="17">
                  <c:v>8.5</c:v>
                </c:pt>
                <c:pt idx="18">
                  <c:v>23.5</c:v>
                </c:pt>
                <c:pt idx="19">
                  <c:v>25.5</c:v>
                </c:pt>
                <c:pt idx="20">
                  <c:v>12</c:v>
                </c:pt>
                <c:pt idx="21">
                  <c:v>7.5</c:v>
                </c:pt>
                <c:pt idx="22">
                  <c:v>16.5</c:v>
                </c:pt>
                <c:pt idx="23">
                  <c:v>17</c:v>
                </c:pt>
                <c:pt idx="24">
                  <c:v>10</c:v>
                </c:pt>
                <c:pt idx="25">
                  <c:v>32.5</c:v>
                </c:pt>
                <c:pt idx="26">
                  <c:v>40.5</c:v>
                </c:pt>
                <c:pt idx="27">
                  <c:v>31</c:v>
                </c:pt>
                <c:pt idx="28">
                  <c:v>26</c:v>
                </c:pt>
                <c:pt idx="29">
                  <c:v>16.5</c:v>
                </c:pt>
                <c:pt idx="30">
                  <c:v>9.5</c:v>
                </c:pt>
                <c:pt idx="31">
                  <c:v>9.5</c:v>
                </c:pt>
                <c:pt idx="32">
                  <c:v>12.5</c:v>
                </c:pt>
                <c:pt idx="33">
                  <c:v>18.5</c:v>
                </c:pt>
                <c:pt idx="34">
                  <c:v>21</c:v>
                </c:pt>
                <c:pt idx="35">
                  <c:v>26.5</c:v>
                </c:pt>
                <c:pt idx="36">
                  <c:v>30.5</c:v>
                </c:pt>
                <c:pt idx="37">
                  <c:v>35.5</c:v>
                </c:pt>
                <c:pt idx="38">
                  <c:v>31.5</c:v>
                </c:pt>
                <c:pt idx="39">
                  <c:v>27</c:v>
                </c:pt>
                <c:pt idx="40">
                  <c:v>29</c:v>
                </c:pt>
                <c:pt idx="41">
                  <c:v>22</c:v>
                </c:pt>
                <c:pt idx="42">
                  <c:v>11</c:v>
                </c:pt>
                <c:pt idx="43">
                  <c:v>22</c:v>
                </c:pt>
                <c:pt idx="44">
                  <c:v>25</c:v>
                </c:pt>
                <c:pt idx="45">
                  <c:v>20.5</c:v>
                </c:pt>
                <c:pt idx="46">
                  <c:v>12.5</c:v>
                </c:pt>
                <c:pt idx="47">
                  <c:v>10</c:v>
                </c:pt>
                <c:pt idx="48">
                  <c:v>8</c:v>
                </c:pt>
                <c:pt idx="49">
                  <c:v>16</c:v>
                </c:pt>
                <c:pt idx="50">
                  <c:v>20</c:v>
                </c:pt>
                <c:pt idx="51">
                  <c:v>14</c:v>
                </c:pt>
                <c:pt idx="52">
                  <c:v>16</c:v>
                </c:pt>
                <c:pt idx="53">
                  <c:v>28.5</c:v>
                </c:pt>
                <c:pt idx="54">
                  <c:v>29</c:v>
                </c:pt>
                <c:pt idx="55">
                  <c:v>27</c:v>
                </c:pt>
                <c:pt idx="56">
                  <c:v>36</c:v>
                </c:pt>
                <c:pt idx="57">
                  <c:v>35.5</c:v>
                </c:pt>
                <c:pt idx="58">
                  <c:v>24</c:v>
                </c:pt>
                <c:pt idx="59">
                  <c:v>16.5</c:v>
                </c:pt>
                <c:pt idx="60">
                  <c:v>9</c:v>
                </c:pt>
                <c:pt idx="61">
                  <c:v>8.5</c:v>
                </c:pt>
                <c:pt idx="62">
                  <c:v>15</c:v>
                </c:pt>
                <c:pt idx="63">
                  <c:v>19</c:v>
                </c:pt>
                <c:pt idx="64">
                  <c:v>12.5</c:v>
                </c:pt>
                <c:pt idx="65">
                  <c:v>15</c:v>
                </c:pt>
                <c:pt idx="66">
                  <c:v>11.5</c:v>
                </c:pt>
                <c:pt idx="67">
                  <c:v>9</c:v>
                </c:pt>
                <c:pt idx="68">
                  <c:v>20.5</c:v>
                </c:pt>
                <c:pt idx="69">
                  <c:v>14</c:v>
                </c:pt>
                <c:pt idx="70">
                  <c:v>13.5</c:v>
                </c:pt>
                <c:pt idx="71">
                  <c:v>12</c:v>
                </c:pt>
                <c:pt idx="72">
                  <c:v>10</c:v>
                </c:pt>
                <c:pt idx="73">
                  <c:v>24</c:v>
                </c:pt>
                <c:pt idx="74">
                  <c:v>19</c:v>
                </c:pt>
                <c:pt idx="75">
                  <c:v>10</c:v>
                </c:pt>
                <c:pt idx="76">
                  <c:v>19</c:v>
                </c:pt>
                <c:pt idx="77">
                  <c:v>16</c:v>
                </c:pt>
                <c:pt idx="78">
                  <c:v>10.5</c:v>
                </c:pt>
                <c:pt idx="79">
                  <c:v>22</c:v>
                </c:pt>
                <c:pt idx="80">
                  <c:v>27</c:v>
                </c:pt>
                <c:pt idx="81">
                  <c:v>18</c:v>
                </c:pt>
                <c:pt idx="82">
                  <c:v>5</c:v>
                </c:pt>
                <c:pt idx="83">
                  <c:v>26</c:v>
                </c:pt>
                <c:pt idx="84">
                  <c:v>25</c:v>
                </c:pt>
                <c:pt idx="85">
                  <c:v>26.5</c:v>
                </c:pt>
                <c:pt idx="86">
                  <c:v>34.5</c:v>
                </c:pt>
                <c:pt idx="87">
                  <c:v>27.5</c:v>
                </c:pt>
                <c:pt idx="88">
                  <c:v>24.5</c:v>
                </c:pt>
                <c:pt idx="89">
                  <c:v>21</c:v>
                </c:pt>
                <c:pt idx="90">
                  <c:v>23</c:v>
                </c:pt>
                <c:pt idx="91">
                  <c:v>18</c:v>
                </c:pt>
                <c:pt idx="92">
                  <c:v>22</c:v>
                </c:pt>
                <c:pt idx="93">
                  <c:v>28.5</c:v>
                </c:pt>
                <c:pt idx="94">
                  <c:v>28</c:v>
                </c:pt>
                <c:pt idx="95">
                  <c:v>25.5</c:v>
                </c:pt>
                <c:pt idx="96">
                  <c:v>19.5</c:v>
                </c:pt>
                <c:pt idx="97">
                  <c:v>10</c:v>
                </c:pt>
                <c:pt idx="98">
                  <c:v>8</c:v>
                </c:pt>
                <c:pt idx="99">
                  <c:v>9</c:v>
                </c:pt>
                <c:pt idx="100">
                  <c:v>15</c:v>
                </c:pt>
                <c:pt idx="101">
                  <c:v>20</c:v>
                </c:pt>
                <c:pt idx="102">
                  <c:v>22.5</c:v>
                </c:pt>
                <c:pt idx="103">
                  <c:v>21.5</c:v>
                </c:pt>
                <c:pt idx="104">
                  <c:v>14</c:v>
                </c:pt>
                <c:pt idx="105">
                  <c:v>8.5</c:v>
                </c:pt>
                <c:pt idx="106">
                  <c:v>18</c:v>
                </c:pt>
                <c:pt idx="107">
                  <c:v>20.5</c:v>
                </c:pt>
                <c:pt idx="108">
                  <c:v>19.5</c:v>
                </c:pt>
                <c:pt idx="109">
                  <c:v>16</c:v>
                </c:pt>
                <c:pt idx="110">
                  <c:v>11</c:v>
                </c:pt>
                <c:pt idx="111">
                  <c:v>10.5</c:v>
                </c:pt>
                <c:pt idx="112">
                  <c:v>14</c:v>
                </c:pt>
                <c:pt idx="113">
                  <c:v>19.5</c:v>
                </c:pt>
                <c:pt idx="114">
                  <c:v>21</c:v>
                </c:pt>
                <c:pt idx="115">
                  <c:v>15.5</c:v>
                </c:pt>
                <c:pt idx="116">
                  <c:v>19</c:v>
                </c:pt>
                <c:pt idx="117">
                  <c:v>16.5</c:v>
                </c:pt>
                <c:pt idx="118">
                  <c:v>21.5</c:v>
                </c:pt>
                <c:pt idx="119">
                  <c:v>23.5</c:v>
                </c:pt>
                <c:pt idx="120">
                  <c:v>19.5</c:v>
                </c:pt>
                <c:pt idx="121">
                  <c:v>13.5</c:v>
                </c:pt>
                <c:pt idx="122">
                  <c:v>15</c:v>
                </c:pt>
                <c:pt idx="123">
                  <c:v>18</c:v>
                </c:pt>
                <c:pt idx="124">
                  <c:v>23</c:v>
                </c:pt>
                <c:pt idx="125">
                  <c:v>24</c:v>
                </c:pt>
                <c:pt idx="126">
                  <c:v>22.5</c:v>
                </c:pt>
                <c:pt idx="127">
                  <c:v>21</c:v>
                </c:pt>
                <c:pt idx="128">
                  <c:v>19.5</c:v>
                </c:pt>
                <c:pt idx="129">
                  <c:v>18.5</c:v>
                </c:pt>
                <c:pt idx="130">
                  <c:v>15.5</c:v>
                </c:pt>
                <c:pt idx="131">
                  <c:v>12</c:v>
                </c:pt>
                <c:pt idx="132">
                  <c:v>15</c:v>
                </c:pt>
                <c:pt idx="133">
                  <c:v>12.5</c:v>
                </c:pt>
                <c:pt idx="134">
                  <c:v>6</c:v>
                </c:pt>
                <c:pt idx="135">
                  <c:v>13.5</c:v>
                </c:pt>
                <c:pt idx="136">
                  <c:v>19.5</c:v>
                </c:pt>
                <c:pt idx="137">
                  <c:v>20</c:v>
                </c:pt>
                <c:pt idx="138">
                  <c:v>21.5</c:v>
                </c:pt>
                <c:pt idx="139">
                  <c:v>21</c:v>
                </c:pt>
                <c:pt idx="140">
                  <c:v>18</c:v>
                </c:pt>
                <c:pt idx="141">
                  <c:v>17.5</c:v>
                </c:pt>
                <c:pt idx="142">
                  <c:v>17.5</c:v>
                </c:pt>
                <c:pt idx="143">
                  <c:v>9</c:v>
                </c:pt>
                <c:pt idx="144">
                  <c:v>17</c:v>
                </c:pt>
                <c:pt idx="145">
                  <c:v>32</c:v>
                </c:pt>
                <c:pt idx="146">
                  <c:v>29.5</c:v>
                </c:pt>
                <c:pt idx="147">
                  <c:v>14</c:v>
                </c:pt>
                <c:pt idx="148">
                  <c:v>6</c:v>
                </c:pt>
                <c:pt idx="149">
                  <c:v>9</c:v>
                </c:pt>
                <c:pt idx="150">
                  <c:v>18</c:v>
                </c:pt>
                <c:pt idx="151">
                  <c:v>15.5</c:v>
                </c:pt>
                <c:pt idx="152">
                  <c:v>9.5</c:v>
                </c:pt>
                <c:pt idx="153">
                  <c:v>8.5</c:v>
                </c:pt>
                <c:pt idx="154">
                  <c:v>15</c:v>
                </c:pt>
                <c:pt idx="155">
                  <c:v>16.5</c:v>
                </c:pt>
                <c:pt idx="156">
                  <c:v>19</c:v>
                </c:pt>
                <c:pt idx="157">
                  <c:v>14</c:v>
                </c:pt>
                <c:pt idx="158">
                  <c:v>14</c:v>
                </c:pt>
                <c:pt idx="159">
                  <c:v>19</c:v>
                </c:pt>
                <c:pt idx="160">
                  <c:v>15.5</c:v>
                </c:pt>
                <c:pt idx="161">
                  <c:v>20.5</c:v>
                </c:pt>
                <c:pt idx="162">
                  <c:v>23</c:v>
                </c:pt>
                <c:pt idx="163">
                  <c:v>19.5</c:v>
                </c:pt>
                <c:pt idx="164">
                  <c:v>20</c:v>
                </c:pt>
                <c:pt idx="165">
                  <c:v>33.5</c:v>
                </c:pt>
                <c:pt idx="166">
                  <c:v>33</c:v>
                </c:pt>
                <c:pt idx="167">
                  <c:v>18</c:v>
                </c:pt>
                <c:pt idx="168">
                  <c:v>12</c:v>
                </c:pt>
                <c:pt idx="169">
                  <c:v>14</c:v>
                </c:pt>
                <c:pt idx="170">
                  <c:v>20.5</c:v>
                </c:pt>
                <c:pt idx="171">
                  <c:v>27</c:v>
                </c:pt>
                <c:pt idx="172">
                  <c:v>17.5</c:v>
                </c:pt>
                <c:pt idx="173">
                  <c:v>17.5</c:v>
                </c:pt>
                <c:pt idx="174">
                  <c:v>22</c:v>
                </c:pt>
                <c:pt idx="175">
                  <c:v>19</c:v>
                </c:pt>
                <c:pt idx="176">
                  <c:v>9</c:v>
                </c:pt>
                <c:pt idx="177">
                  <c:v>6.5</c:v>
                </c:pt>
                <c:pt idx="178">
                  <c:v>9</c:v>
                </c:pt>
                <c:pt idx="179">
                  <c:v>14</c:v>
                </c:pt>
                <c:pt idx="180">
                  <c:v>10</c:v>
                </c:pt>
                <c:pt idx="181">
                  <c:v>8</c:v>
                </c:pt>
                <c:pt idx="182">
                  <c:v>11</c:v>
                </c:pt>
                <c:pt idx="183">
                  <c:v>11</c:v>
                </c:pt>
                <c:pt idx="184">
                  <c:v>7</c:v>
                </c:pt>
                <c:pt idx="185">
                  <c:v>14.5</c:v>
                </c:pt>
                <c:pt idx="186">
                  <c:v>14.5</c:v>
                </c:pt>
                <c:pt idx="187">
                  <c:v>7.5</c:v>
                </c:pt>
                <c:pt idx="188">
                  <c:v>11</c:v>
                </c:pt>
                <c:pt idx="189">
                  <c:v>13</c:v>
                </c:pt>
                <c:pt idx="190">
                  <c:v>9.5</c:v>
                </c:pt>
                <c:pt idx="191">
                  <c:v>13</c:v>
                </c:pt>
                <c:pt idx="192">
                  <c:v>7</c:v>
                </c:pt>
                <c:pt idx="193">
                  <c:v>10.5</c:v>
                </c:pt>
                <c:pt idx="194">
                  <c:v>12</c:v>
                </c:pt>
                <c:pt idx="195">
                  <c:v>9.5</c:v>
                </c:pt>
                <c:pt idx="196">
                  <c:v>7.5</c:v>
                </c:pt>
                <c:pt idx="197">
                  <c:v>11.5</c:v>
                </c:pt>
                <c:pt idx="198">
                  <c:v>24.5</c:v>
                </c:pt>
                <c:pt idx="199">
                  <c:v>26</c:v>
                </c:pt>
                <c:pt idx="200">
                  <c:v>11</c:v>
                </c:pt>
                <c:pt idx="201">
                  <c:v>11</c:v>
                </c:pt>
                <c:pt idx="202">
                  <c:v>10</c:v>
                </c:pt>
                <c:pt idx="203">
                  <c:v>12.5</c:v>
                </c:pt>
                <c:pt idx="204">
                  <c:v>28</c:v>
                </c:pt>
                <c:pt idx="205">
                  <c:v>31.5</c:v>
                </c:pt>
                <c:pt idx="206">
                  <c:v>27.5</c:v>
                </c:pt>
                <c:pt idx="207">
                  <c:v>21</c:v>
                </c:pt>
                <c:pt idx="208">
                  <c:v>18.5</c:v>
                </c:pt>
                <c:pt idx="209">
                  <c:v>10</c:v>
                </c:pt>
                <c:pt idx="210">
                  <c:v>12</c:v>
                </c:pt>
                <c:pt idx="211">
                  <c:v>30</c:v>
                </c:pt>
                <c:pt idx="212">
                  <c:v>36.5</c:v>
                </c:pt>
                <c:pt idx="213">
                  <c:v>29</c:v>
                </c:pt>
                <c:pt idx="214">
                  <c:v>20</c:v>
                </c:pt>
                <c:pt idx="215">
                  <c:v>12.5</c:v>
                </c:pt>
                <c:pt idx="216">
                  <c:v>7.5</c:v>
                </c:pt>
                <c:pt idx="217">
                  <c:v>14</c:v>
                </c:pt>
                <c:pt idx="218">
                  <c:v>20</c:v>
                </c:pt>
                <c:pt idx="219">
                  <c:v>16</c:v>
                </c:pt>
                <c:pt idx="220">
                  <c:v>16.5</c:v>
                </c:pt>
                <c:pt idx="221">
                  <c:v>22.5</c:v>
                </c:pt>
                <c:pt idx="222">
                  <c:v>24.5</c:v>
                </c:pt>
                <c:pt idx="223">
                  <c:v>26.5</c:v>
                </c:pt>
                <c:pt idx="224">
                  <c:v>20</c:v>
                </c:pt>
                <c:pt idx="225">
                  <c:v>16</c:v>
                </c:pt>
                <c:pt idx="226">
                  <c:v>23</c:v>
                </c:pt>
                <c:pt idx="227">
                  <c:v>38</c:v>
                </c:pt>
                <c:pt idx="228">
                  <c:v>40</c:v>
                </c:pt>
                <c:pt idx="229">
                  <c:v>30.5</c:v>
                </c:pt>
                <c:pt idx="230">
                  <c:v>30</c:v>
                </c:pt>
                <c:pt idx="231">
                  <c:v>30</c:v>
                </c:pt>
                <c:pt idx="232">
                  <c:v>24</c:v>
                </c:pt>
                <c:pt idx="233">
                  <c:v>23</c:v>
                </c:pt>
                <c:pt idx="234">
                  <c:v>23.5</c:v>
                </c:pt>
                <c:pt idx="235">
                  <c:v>25</c:v>
                </c:pt>
                <c:pt idx="236">
                  <c:v>25</c:v>
                </c:pt>
                <c:pt idx="237">
                  <c:v>18.5</c:v>
                </c:pt>
                <c:pt idx="238">
                  <c:v>15.5</c:v>
                </c:pt>
                <c:pt idx="239">
                  <c:v>16</c:v>
                </c:pt>
                <c:pt idx="240">
                  <c:v>18</c:v>
                </c:pt>
                <c:pt idx="241">
                  <c:v>16</c:v>
                </c:pt>
                <c:pt idx="242">
                  <c:v>14.5</c:v>
                </c:pt>
                <c:pt idx="243">
                  <c:v>14</c:v>
                </c:pt>
                <c:pt idx="244">
                  <c:v>21.5</c:v>
                </c:pt>
                <c:pt idx="245">
                  <c:v>27.5</c:v>
                </c:pt>
                <c:pt idx="246">
                  <c:v>20</c:v>
                </c:pt>
                <c:pt idx="247">
                  <c:v>19</c:v>
                </c:pt>
                <c:pt idx="248">
                  <c:v>19.5</c:v>
                </c:pt>
                <c:pt idx="249">
                  <c:v>19</c:v>
                </c:pt>
                <c:pt idx="250">
                  <c:v>17</c:v>
                </c:pt>
                <c:pt idx="251">
                  <c:v>20</c:v>
                </c:pt>
                <c:pt idx="252">
                  <c:v>27.5</c:v>
                </c:pt>
                <c:pt idx="253">
                  <c:v>30.5</c:v>
                </c:pt>
                <c:pt idx="254">
                  <c:v>22.5</c:v>
                </c:pt>
                <c:pt idx="255">
                  <c:v>13.5</c:v>
                </c:pt>
                <c:pt idx="256">
                  <c:v>22</c:v>
                </c:pt>
                <c:pt idx="257">
                  <c:v>29</c:v>
                </c:pt>
                <c:pt idx="258">
                  <c:v>24.5</c:v>
                </c:pt>
                <c:pt idx="259">
                  <c:v>19.5</c:v>
                </c:pt>
                <c:pt idx="260">
                  <c:v>22</c:v>
                </c:pt>
                <c:pt idx="261">
                  <c:v>28</c:v>
                </c:pt>
                <c:pt idx="262">
                  <c:v>35</c:v>
                </c:pt>
                <c:pt idx="263">
                  <c:v>39.5</c:v>
                </c:pt>
                <c:pt idx="264">
                  <c:v>28.5</c:v>
                </c:pt>
                <c:pt idx="265">
                  <c:v>17.5</c:v>
                </c:pt>
                <c:pt idx="266">
                  <c:v>21</c:v>
                </c:pt>
                <c:pt idx="267">
                  <c:v>21.5</c:v>
                </c:pt>
                <c:pt idx="268">
                  <c:v>30</c:v>
                </c:pt>
                <c:pt idx="269">
                  <c:v>32.5</c:v>
                </c:pt>
                <c:pt idx="270">
                  <c:v>15</c:v>
                </c:pt>
                <c:pt idx="271">
                  <c:v>13</c:v>
                </c:pt>
                <c:pt idx="272">
                  <c:v>20.5</c:v>
                </c:pt>
                <c:pt idx="273">
                  <c:v>16.5</c:v>
                </c:pt>
                <c:pt idx="274">
                  <c:v>21</c:v>
                </c:pt>
                <c:pt idx="275">
                  <c:v>25</c:v>
                </c:pt>
                <c:pt idx="276">
                  <c:v>11.5</c:v>
                </c:pt>
                <c:pt idx="277">
                  <c:v>19</c:v>
                </c:pt>
                <c:pt idx="278">
                  <c:v>22</c:v>
                </c:pt>
                <c:pt idx="279">
                  <c:v>16.5</c:v>
                </c:pt>
                <c:pt idx="280">
                  <c:v>17</c:v>
                </c:pt>
                <c:pt idx="281">
                  <c:v>14</c:v>
                </c:pt>
                <c:pt idx="282">
                  <c:v>20.5</c:v>
                </c:pt>
                <c:pt idx="283">
                  <c:v>29</c:v>
                </c:pt>
                <c:pt idx="284">
                  <c:v>21.5</c:v>
                </c:pt>
                <c:pt idx="285">
                  <c:v>29.5</c:v>
                </c:pt>
                <c:pt idx="286">
                  <c:v>34</c:v>
                </c:pt>
                <c:pt idx="287">
                  <c:v>23.5</c:v>
                </c:pt>
                <c:pt idx="288">
                  <c:v>7.5</c:v>
                </c:pt>
                <c:pt idx="289">
                  <c:v>14</c:v>
                </c:pt>
                <c:pt idx="290">
                  <c:v>16</c:v>
                </c:pt>
                <c:pt idx="291">
                  <c:v>15</c:v>
                </c:pt>
                <c:pt idx="292">
                  <c:v>23.5</c:v>
                </c:pt>
                <c:pt idx="293">
                  <c:v>29.5</c:v>
                </c:pt>
                <c:pt idx="294">
                  <c:v>15.5</c:v>
                </c:pt>
                <c:pt idx="295">
                  <c:v>22</c:v>
                </c:pt>
                <c:pt idx="296">
                  <c:v>34</c:v>
                </c:pt>
                <c:pt idx="297">
                  <c:v>30.5</c:v>
                </c:pt>
                <c:pt idx="298">
                  <c:v>27</c:v>
                </c:pt>
                <c:pt idx="299">
                  <c:v>23</c:v>
                </c:pt>
                <c:pt idx="300">
                  <c:v>18.5</c:v>
                </c:pt>
                <c:pt idx="301">
                  <c:v>13</c:v>
                </c:pt>
                <c:pt idx="302">
                  <c:v>14</c:v>
                </c:pt>
                <c:pt idx="303">
                  <c:v>19</c:v>
                </c:pt>
                <c:pt idx="304">
                  <c:v>14.5</c:v>
                </c:pt>
                <c:pt idx="305">
                  <c:v>20.5</c:v>
                </c:pt>
                <c:pt idx="306">
                  <c:v>28</c:v>
                </c:pt>
                <c:pt idx="307">
                  <c:v>27.5</c:v>
                </c:pt>
                <c:pt idx="308">
                  <c:v>22</c:v>
                </c:pt>
                <c:pt idx="309">
                  <c:v>24</c:v>
                </c:pt>
                <c:pt idx="310">
                  <c:v>26</c:v>
                </c:pt>
                <c:pt idx="311">
                  <c:v>35</c:v>
                </c:pt>
                <c:pt idx="312">
                  <c:v>27</c:v>
                </c:pt>
                <c:pt idx="313">
                  <c:v>8.5</c:v>
                </c:pt>
                <c:pt idx="314">
                  <c:v>16.5</c:v>
                </c:pt>
                <c:pt idx="315">
                  <c:v>21.5</c:v>
                </c:pt>
                <c:pt idx="316">
                  <c:v>39</c:v>
                </c:pt>
                <c:pt idx="317">
                  <c:v>50</c:v>
                </c:pt>
                <c:pt idx="318">
                  <c:v>32.5</c:v>
                </c:pt>
                <c:pt idx="319">
                  <c:v>18.5</c:v>
                </c:pt>
                <c:pt idx="320">
                  <c:v>20</c:v>
                </c:pt>
                <c:pt idx="321">
                  <c:v>6.5</c:v>
                </c:pt>
                <c:pt idx="322">
                  <c:v>21.5</c:v>
                </c:pt>
                <c:pt idx="323">
                  <c:v>14</c:v>
                </c:pt>
                <c:pt idx="324">
                  <c:v>13</c:v>
                </c:pt>
                <c:pt idx="325">
                  <c:v>29</c:v>
                </c:pt>
                <c:pt idx="326">
                  <c:v>30</c:v>
                </c:pt>
                <c:pt idx="327">
                  <c:v>22.5</c:v>
                </c:pt>
                <c:pt idx="328">
                  <c:v>15</c:v>
                </c:pt>
                <c:pt idx="329">
                  <c:v>8.5</c:v>
                </c:pt>
                <c:pt idx="330">
                  <c:v>16.5</c:v>
                </c:pt>
                <c:pt idx="331">
                  <c:v>22</c:v>
                </c:pt>
                <c:pt idx="332">
                  <c:v>17.5</c:v>
                </c:pt>
                <c:pt idx="333">
                  <c:v>7</c:v>
                </c:pt>
                <c:pt idx="334">
                  <c:v>6.5</c:v>
                </c:pt>
                <c:pt idx="335">
                  <c:v>10.5</c:v>
                </c:pt>
                <c:pt idx="336">
                  <c:v>20</c:v>
                </c:pt>
                <c:pt idx="337">
                  <c:v>20.5</c:v>
                </c:pt>
                <c:pt idx="338">
                  <c:v>19.5</c:v>
                </c:pt>
                <c:pt idx="339">
                  <c:v>19</c:v>
                </c:pt>
                <c:pt idx="340">
                  <c:v>18.5</c:v>
                </c:pt>
                <c:pt idx="341">
                  <c:v>21.5</c:v>
                </c:pt>
                <c:pt idx="342">
                  <c:v>30</c:v>
                </c:pt>
                <c:pt idx="343">
                  <c:v>30.5</c:v>
                </c:pt>
                <c:pt idx="344">
                  <c:v>28.5</c:v>
                </c:pt>
                <c:pt idx="345">
                  <c:v>22.5</c:v>
                </c:pt>
                <c:pt idx="346">
                  <c:v>6</c:v>
                </c:pt>
                <c:pt idx="347">
                  <c:v>17</c:v>
                </c:pt>
                <c:pt idx="348">
                  <c:v>17.5</c:v>
                </c:pt>
                <c:pt idx="349">
                  <c:v>14</c:v>
                </c:pt>
                <c:pt idx="350">
                  <c:v>15</c:v>
                </c:pt>
                <c:pt idx="351">
                  <c:v>14.5</c:v>
                </c:pt>
                <c:pt idx="352">
                  <c:v>21</c:v>
                </c:pt>
                <c:pt idx="353">
                  <c:v>18.5</c:v>
                </c:pt>
                <c:pt idx="354">
                  <c:v>17</c:v>
                </c:pt>
                <c:pt idx="355">
                  <c:v>7.5</c:v>
                </c:pt>
                <c:pt idx="356">
                  <c:v>16</c:v>
                </c:pt>
                <c:pt idx="357">
                  <c:v>16.5</c:v>
                </c:pt>
                <c:pt idx="358">
                  <c:v>17.5</c:v>
                </c:pt>
                <c:pt idx="359">
                  <c:v>18</c:v>
                </c:pt>
                <c:pt idx="360">
                  <c:v>11</c:v>
                </c:pt>
                <c:pt idx="361">
                  <c:v>15.5</c:v>
                </c:pt>
                <c:pt idx="362">
                  <c:v>15.5</c:v>
                </c:pt>
                <c:pt idx="363">
                  <c:v>9.5</c:v>
                </c:pt>
                <c:pt idx="364">
                  <c:v>24</c:v>
                </c:pt>
                <c:pt idx="365">
                  <c:v>29.5</c:v>
                </c:pt>
                <c:pt idx="366">
                  <c:v>16</c:v>
                </c:pt>
                <c:pt idx="367">
                  <c:v>11</c:v>
                </c:pt>
                <c:pt idx="368">
                  <c:v>17.5</c:v>
                </c:pt>
                <c:pt idx="369">
                  <c:v>18</c:v>
                </c:pt>
                <c:pt idx="370">
                  <c:v>20</c:v>
                </c:pt>
                <c:pt idx="371">
                  <c:v>14</c:v>
                </c:pt>
                <c:pt idx="372">
                  <c:v>14.5</c:v>
                </c:pt>
                <c:pt idx="373">
                  <c:v>14</c:v>
                </c:pt>
                <c:pt idx="374">
                  <c:v>29</c:v>
                </c:pt>
                <c:pt idx="375">
                  <c:v>53.5</c:v>
                </c:pt>
                <c:pt idx="376">
                  <c:v>67</c:v>
                </c:pt>
                <c:pt idx="377">
                  <c:v>60</c:v>
                </c:pt>
                <c:pt idx="378">
                  <c:v>36</c:v>
                </c:pt>
                <c:pt idx="379">
                  <c:v>19.5</c:v>
                </c:pt>
                <c:pt idx="380">
                  <c:v>21.5</c:v>
                </c:pt>
                <c:pt idx="381">
                  <c:v>20.5</c:v>
                </c:pt>
                <c:pt idx="382">
                  <c:v>26</c:v>
                </c:pt>
                <c:pt idx="383">
                  <c:v>25.5</c:v>
                </c:pt>
                <c:pt idx="384">
                  <c:v>22.5</c:v>
                </c:pt>
                <c:pt idx="385">
                  <c:v>24</c:v>
                </c:pt>
                <c:pt idx="386">
                  <c:v>19.5</c:v>
                </c:pt>
                <c:pt idx="387">
                  <c:v>20.5</c:v>
                </c:pt>
                <c:pt idx="388">
                  <c:v>20.5</c:v>
                </c:pt>
                <c:pt idx="389">
                  <c:v>30.5</c:v>
                </c:pt>
                <c:pt idx="390">
                  <c:v>25.5</c:v>
                </c:pt>
                <c:pt idx="391">
                  <c:v>13.5</c:v>
                </c:pt>
                <c:pt idx="392">
                  <c:v>10.5</c:v>
                </c:pt>
                <c:pt idx="393">
                  <c:v>17.5</c:v>
                </c:pt>
                <c:pt idx="394">
                  <c:v>19.5</c:v>
                </c:pt>
                <c:pt idx="395">
                  <c:v>21</c:v>
                </c:pt>
                <c:pt idx="396">
                  <c:v>26.5</c:v>
                </c:pt>
                <c:pt idx="397">
                  <c:v>34</c:v>
                </c:pt>
                <c:pt idx="398">
                  <c:v>42.5</c:v>
                </c:pt>
                <c:pt idx="399">
                  <c:v>44</c:v>
                </c:pt>
                <c:pt idx="400">
                  <c:v>37.5</c:v>
                </c:pt>
                <c:pt idx="401">
                  <c:v>30.5</c:v>
                </c:pt>
                <c:pt idx="402">
                  <c:v>30</c:v>
                </c:pt>
                <c:pt idx="403">
                  <c:v>27.5</c:v>
                </c:pt>
                <c:pt idx="404">
                  <c:v>24</c:v>
                </c:pt>
                <c:pt idx="405">
                  <c:v>31.5</c:v>
                </c:pt>
                <c:pt idx="406">
                  <c:v>24.5</c:v>
                </c:pt>
                <c:pt idx="407">
                  <c:v>11</c:v>
                </c:pt>
                <c:pt idx="408">
                  <c:v>13.5</c:v>
                </c:pt>
                <c:pt idx="409">
                  <c:v>24</c:v>
                </c:pt>
                <c:pt idx="410">
                  <c:v>24.5</c:v>
                </c:pt>
                <c:pt idx="411">
                  <c:v>32</c:v>
                </c:pt>
                <c:pt idx="412">
                  <c:v>37.5</c:v>
                </c:pt>
                <c:pt idx="413">
                  <c:v>31</c:v>
                </c:pt>
                <c:pt idx="414">
                  <c:v>14.5</c:v>
                </c:pt>
                <c:pt idx="415">
                  <c:v>18.5</c:v>
                </c:pt>
                <c:pt idx="416">
                  <c:v>13</c:v>
                </c:pt>
                <c:pt idx="417">
                  <c:v>15</c:v>
                </c:pt>
                <c:pt idx="418">
                  <c:v>19</c:v>
                </c:pt>
                <c:pt idx="419">
                  <c:v>16</c:v>
                </c:pt>
                <c:pt idx="420">
                  <c:v>23</c:v>
                </c:pt>
                <c:pt idx="421">
                  <c:v>24</c:v>
                </c:pt>
                <c:pt idx="422">
                  <c:v>21.5</c:v>
                </c:pt>
                <c:pt idx="423">
                  <c:v>23</c:v>
                </c:pt>
                <c:pt idx="424">
                  <c:v>20.5</c:v>
                </c:pt>
                <c:pt idx="425">
                  <c:v>17.5</c:v>
                </c:pt>
                <c:pt idx="426">
                  <c:v>20</c:v>
                </c:pt>
                <c:pt idx="427">
                  <c:v>20</c:v>
                </c:pt>
                <c:pt idx="428">
                  <c:v>25.5</c:v>
                </c:pt>
                <c:pt idx="429">
                  <c:v>26</c:v>
                </c:pt>
                <c:pt idx="430">
                  <c:v>26</c:v>
                </c:pt>
                <c:pt idx="431">
                  <c:v>29</c:v>
                </c:pt>
                <c:pt idx="432">
                  <c:v>26.5</c:v>
                </c:pt>
                <c:pt idx="433">
                  <c:v>24</c:v>
                </c:pt>
                <c:pt idx="434">
                  <c:v>30</c:v>
                </c:pt>
                <c:pt idx="435">
                  <c:v>47</c:v>
                </c:pt>
                <c:pt idx="436">
                  <c:v>54</c:v>
                </c:pt>
                <c:pt idx="437">
                  <c:v>39</c:v>
                </c:pt>
                <c:pt idx="438">
                  <c:v>22.5</c:v>
                </c:pt>
                <c:pt idx="439">
                  <c:v>18.5</c:v>
                </c:pt>
                <c:pt idx="440">
                  <c:v>23.5</c:v>
                </c:pt>
                <c:pt idx="441">
                  <c:v>27.5</c:v>
                </c:pt>
                <c:pt idx="442">
                  <c:v>27.5</c:v>
                </c:pt>
                <c:pt idx="443">
                  <c:v>30.5</c:v>
                </c:pt>
                <c:pt idx="444">
                  <c:v>26.5</c:v>
                </c:pt>
                <c:pt idx="445">
                  <c:v>18</c:v>
                </c:pt>
                <c:pt idx="446">
                  <c:v>7.5</c:v>
                </c:pt>
                <c:pt idx="447">
                  <c:v>24</c:v>
                </c:pt>
                <c:pt idx="448">
                  <c:v>35</c:v>
                </c:pt>
                <c:pt idx="449">
                  <c:v>30.5</c:v>
                </c:pt>
                <c:pt idx="450">
                  <c:v>28.5</c:v>
                </c:pt>
                <c:pt idx="451">
                  <c:v>34</c:v>
                </c:pt>
                <c:pt idx="452">
                  <c:v>35.5</c:v>
                </c:pt>
                <c:pt idx="453">
                  <c:v>29</c:v>
                </c:pt>
                <c:pt idx="454">
                  <c:v>27.5</c:v>
                </c:pt>
                <c:pt idx="455">
                  <c:v>26</c:v>
                </c:pt>
                <c:pt idx="456">
                  <c:v>31</c:v>
                </c:pt>
                <c:pt idx="457">
                  <c:v>28.5</c:v>
                </c:pt>
                <c:pt idx="458">
                  <c:v>20</c:v>
                </c:pt>
                <c:pt idx="459">
                  <c:v>9.5</c:v>
                </c:pt>
                <c:pt idx="460">
                  <c:v>12</c:v>
                </c:pt>
                <c:pt idx="461">
                  <c:v>21</c:v>
                </c:pt>
                <c:pt idx="462">
                  <c:v>27</c:v>
                </c:pt>
                <c:pt idx="463">
                  <c:v>31.5</c:v>
                </c:pt>
                <c:pt idx="464">
                  <c:v>30</c:v>
                </c:pt>
                <c:pt idx="465">
                  <c:v>23</c:v>
                </c:pt>
                <c:pt idx="466">
                  <c:v>24.5</c:v>
                </c:pt>
                <c:pt idx="467">
                  <c:v>28</c:v>
                </c:pt>
                <c:pt idx="468">
                  <c:v>19</c:v>
                </c:pt>
                <c:pt idx="469">
                  <c:v>14</c:v>
                </c:pt>
                <c:pt idx="470">
                  <c:v>16.5</c:v>
                </c:pt>
                <c:pt idx="471">
                  <c:v>16</c:v>
                </c:pt>
                <c:pt idx="472">
                  <c:v>16.5</c:v>
                </c:pt>
                <c:pt idx="473">
                  <c:v>19.5</c:v>
                </c:pt>
                <c:pt idx="474">
                  <c:v>22</c:v>
                </c:pt>
                <c:pt idx="475">
                  <c:v>16.5</c:v>
                </c:pt>
                <c:pt idx="476">
                  <c:v>6</c:v>
                </c:pt>
                <c:pt idx="477">
                  <c:v>6.5</c:v>
                </c:pt>
                <c:pt idx="478">
                  <c:v>29.5</c:v>
                </c:pt>
                <c:pt idx="479">
                  <c:v>41.5</c:v>
                </c:pt>
                <c:pt idx="480">
                  <c:v>29</c:v>
                </c:pt>
                <c:pt idx="481">
                  <c:v>10.5</c:v>
                </c:pt>
                <c:pt idx="482">
                  <c:v>13</c:v>
                </c:pt>
                <c:pt idx="483">
                  <c:v>18.5</c:v>
                </c:pt>
                <c:pt idx="484">
                  <c:v>20.5</c:v>
                </c:pt>
                <c:pt idx="485">
                  <c:v>21.5</c:v>
                </c:pt>
                <c:pt idx="486">
                  <c:v>22.5</c:v>
                </c:pt>
                <c:pt idx="487">
                  <c:v>22.5</c:v>
                </c:pt>
                <c:pt idx="488">
                  <c:v>29.5</c:v>
                </c:pt>
                <c:pt idx="489">
                  <c:v>39</c:v>
                </c:pt>
                <c:pt idx="490">
                  <c:v>38</c:v>
                </c:pt>
                <c:pt idx="491">
                  <c:v>23.5</c:v>
                </c:pt>
                <c:pt idx="492">
                  <c:v>13.5</c:v>
                </c:pt>
                <c:pt idx="493">
                  <c:v>14.5</c:v>
                </c:pt>
                <c:pt idx="494">
                  <c:v>27.5</c:v>
                </c:pt>
                <c:pt idx="495">
                  <c:v>33.5</c:v>
                </c:pt>
                <c:pt idx="496">
                  <c:v>31</c:v>
                </c:pt>
                <c:pt idx="497">
                  <c:v>39</c:v>
                </c:pt>
                <c:pt idx="498">
                  <c:v>31.5</c:v>
                </c:pt>
                <c:pt idx="499">
                  <c:v>30.5</c:v>
                </c:pt>
                <c:pt idx="500">
                  <c:v>41</c:v>
                </c:pt>
                <c:pt idx="501">
                  <c:v>34.5</c:v>
                </c:pt>
                <c:pt idx="502">
                  <c:v>26.5</c:v>
                </c:pt>
                <c:pt idx="503">
                  <c:v>28.5</c:v>
                </c:pt>
                <c:pt idx="504">
                  <c:v>31.5</c:v>
                </c:pt>
                <c:pt idx="505">
                  <c:v>24</c:v>
                </c:pt>
                <c:pt idx="506">
                  <c:v>18.5</c:v>
                </c:pt>
                <c:pt idx="507">
                  <c:v>31.5</c:v>
                </c:pt>
                <c:pt idx="508">
                  <c:v>32</c:v>
                </c:pt>
                <c:pt idx="509">
                  <c:v>26.5</c:v>
                </c:pt>
                <c:pt idx="510">
                  <c:v>33.5</c:v>
                </c:pt>
                <c:pt idx="511">
                  <c:v>33</c:v>
                </c:pt>
                <c:pt idx="512">
                  <c:v>27.5</c:v>
                </c:pt>
                <c:pt idx="513">
                  <c:v>26.5</c:v>
                </c:pt>
                <c:pt idx="514">
                  <c:v>25</c:v>
                </c:pt>
                <c:pt idx="515">
                  <c:v>20</c:v>
                </c:pt>
                <c:pt idx="516">
                  <c:v>18</c:v>
                </c:pt>
                <c:pt idx="517">
                  <c:v>22.5</c:v>
                </c:pt>
                <c:pt idx="518">
                  <c:v>28</c:v>
                </c:pt>
                <c:pt idx="519">
                  <c:v>21.5</c:v>
                </c:pt>
                <c:pt idx="520">
                  <c:v>19</c:v>
                </c:pt>
                <c:pt idx="521">
                  <c:v>21</c:v>
                </c:pt>
                <c:pt idx="522">
                  <c:v>14.5</c:v>
                </c:pt>
                <c:pt idx="523">
                  <c:v>5.5</c:v>
                </c:pt>
                <c:pt idx="524">
                  <c:v>23</c:v>
                </c:pt>
                <c:pt idx="525">
                  <c:v>38</c:v>
                </c:pt>
                <c:pt idx="526">
                  <c:v>38.5</c:v>
                </c:pt>
                <c:pt idx="527">
                  <c:v>28.5</c:v>
                </c:pt>
                <c:pt idx="528">
                  <c:v>23.5</c:v>
                </c:pt>
                <c:pt idx="529">
                  <c:v>17</c:v>
                </c:pt>
                <c:pt idx="530">
                  <c:v>18</c:v>
                </c:pt>
                <c:pt idx="531">
                  <c:v>24</c:v>
                </c:pt>
                <c:pt idx="532">
                  <c:v>28</c:v>
                </c:pt>
                <c:pt idx="533">
                  <c:v>30.5</c:v>
                </c:pt>
                <c:pt idx="534">
                  <c:v>37</c:v>
                </c:pt>
                <c:pt idx="535">
                  <c:v>46</c:v>
                </c:pt>
                <c:pt idx="536">
                  <c:v>36</c:v>
                </c:pt>
                <c:pt idx="537">
                  <c:v>23.5</c:v>
                </c:pt>
                <c:pt idx="538">
                  <c:v>35</c:v>
                </c:pt>
                <c:pt idx="539">
                  <c:v>45.5</c:v>
                </c:pt>
                <c:pt idx="540">
                  <c:v>40</c:v>
                </c:pt>
                <c:pt idx="541">
                  <c:v>31.5</c:v>
                </c:pt>
                <c:pt idx="542">
                  <c:v>21</c:v>
                </c:pt>
                <c:pt idx="543">
                  <c:v>17.5</c:v>
                </c:pt>
                <c:pt idx="544">
                  <c:v>15</c:v>
                </c:pt>
                <c:pt idx="545">
                  <c:v>17</c:v>
                </c:pt>
                <c:pt idx="546">
                  <c:v>19</c:v>
                </c:pt>
                <c:pt idx="547">
                  <c:v>15</c:v>
                </c:pt>
                <c:pt idx="548">
                  <c:v>8.5</c:v>
                </c:pt>
                <c:pt idx="549">
                  <c:v>19</c:v>
                </c:pt>
                <c:pt idx="550">
                  <c:v>12</c:v>
                </c:pt>
                <c:pt idx="551">
                  <c:v>10.5</c:v>
                </c:pt>
                <c:pt idx="552">
                  <c:v>13.5</c:v>
                </c:pt>
                <c:pt idx="553">
                  <c:v>15</c:v>
                </c:pt>
                <c:pt idx="554">
                  <c:v>34.5</c:v>
                </c:pt>
                <c:pt idx="555">
                  <c:v>34.5</c:v>
                </c:pt>
                <c:pt idx="556">
                  <c:v>12</c:v>
                </c:pt>
                <c:pt idx="557">
                  <c:v>9.5</c:v>
                </c:pt>
                <c:pt idx="558">
                  <c:v>17.5</c:v>
                </c:pt>
                <c:pt idx="559">
                  <c:v>23</c:v>
                </c:pt>
                <c:pt idx="560">
                  <c:v>34</c:v>
                </c:pt>
                <c:pt idx="561">
                  <c:v>35</c:v>
                </c:pt>
                <c:pt idx="562">
                  <c:v>27.5</c:v>
                </c:pt>
                <c:pt idx="563">
                  <c:v>22.5</c:v>
                </c:pt>
                <c:pt idx="564">
                  <c:v>19</c:v>
                </c:pt>
                <c:pt idx="565">
                  <c:v>22</c:v>
                </c:pt>
                <c:pt idx="566">
                  <c:v>33.5</c:v>
                </c:pt>
                <c:pt idx="567">
                  <c:v>30.5</c:v>
                </c:pt>
                <c:pt idx="568">
                  <c:v>19</c:v>
                </c:pt>
                <c:pt idx="569">
                  <c:v>27.5</c:v>
                </c:pt>
                <c:pt idx="570">
                  <c:v>30.5</c:v>
                </c:pt>
                <c:pt idx="571">
                  <c:v>24</c:v>
                </c:pt>
                <c:pt idx="572">
                  <c:v>31.5</c:v>
                </c:pt>
                <c:pt idx="573">
                  <c:v>26.5</c:v>
                </c:pt>
                <c:pt idx="574">
                  <c:v>23.5</c:v>
                </c:pt>
                <c:pt idx="575">
                  <c:v>22</c:v>
                </c:pt>
                <c:pt idx="576">
                  <c:v>28.5</c:v>
                </c:pt>
                <c:pt idx="577">
                  <c:v>26</c:v>
                </c:pt>
                <c:pt idx="578">
                  <c:v>24</c:v>
                </c:pt>
                <c:pt idx="579">
                  <c:v>16</c:v>
                </c:pt>
                <c:pt idx="580">
                  <c:v>8.5</c:v>
                </c:pt>
                <c:pt idx="581">
                  <c:v>17</c:v>
                </c:pt>
                <c:pt idx="582">
                  <c:v>32</c:v>
                </c:pt>
                <c:pt idx="583">
                  <c:v>38.5</c:v>
                </c:pt>
                <c:pt idx="584">
                  <c:v>34.5</c:v>
                </c:pt>
                <c:pt idx="585">
                  <c:v>25</c:v>
                </c:pt>
                <c:pt idx="586">
                  <c:v>23.5</c:v>
                </c:pt>
                <c:pt idx="587">
                  <c:v>22</c:v>
                </c:pt>
                <c:pt idx="588">
                  <c:v>19</c:v>
                </c:pt>
                <c:pt idx="589">
                  <c:v>30</c:v>
                </c:pt>
                <c:pt idx="590">
                  <c:v>30</c:v>
                </c:pt>
                <c:pt idx="591">
                  <c:v>21.5</c:v>
                </c:pt>
                <c:pt idx="592">
                  <c:v>17</c:v>
                </c:pt>
                <c:pt idx="593">
                  <c:v>28</c:v>
                </c:pt>
                <c:pt idx="594">
                  <c:v>29.5</c:v>
                </c:pt>
                <c:pt idx="595">
                  <c:v>22.5</c:v>
                </c:pt>
                <c:pt idx="596">
                  <c:v>15</c:v>
                </c:pt>
                <c:pt idx="597">
                  <c:v>11</c:v>
                </c:pt>
                <c:pt idx="598">
                  <c:v>12</c:v>
                </c:pt>
                <c:pt idx="599">
                  <c:v>16</c:v>
                </c:pt>
                <c:pt idx="600">
                  <c:v>18</c:v>
                </c:pt>
                <c:pt idx="601">
                  <c:v>24</c:v>
                </c:pt>
                <c:pt idx="602">
                  <c:v>26</c:v>
                </c:pt>
                <c:pt idx="603">
                  <c:v>23.5</c:v>
                </c:pt>
                <c:pt idx="604">
                  <c:v>24</c:v>
                </c:pt>
                <c:pt idx="605">
                  <c:v>32.5</c:v>
                </c:pt>
                <c:pt idx="606">
                  <c:v>24.5</c:v>
                </c:pt>
                <c:pt idx="607">
                  <c:v>19.5</c:v>
                </c:pt>
                <c:pt idx="608">
                  <c:v>18</c:v>
                </c:pt>
                <c:pt idx="609">
                  <c:v>14.5</c:v>
                </c:pt>
                <c:pt idx="610">
                  <c:v>14.5</c:v>
                </c:pt>
                <c:pt idx="611">
                  <c:v>24.5</c:v>
                </c:pt>
                <c:pt idx="612">
                  <c:v>33</c:v>
                </c:pt>
                <c:pt idx="613">
                  <c:v>29</c:v>
                </c:pt>
                <c:pt idx="614">
                  <c:v>19.5</c:v>
                </c:pt>
                <c:pt idx="615">
                  <c:v>15</c:v>
                </c:pt>
                <c:pt idx="616">
                  <c:v>10</c:v>
                </c:pt>
                <c:pt idx="617">
                  <c:v>23.5</c:v>
                </c:pt>
                <c:pt idx="618">
                  <c:v>37</c:v>
                </c:pt>
                <c:pt idx="619">
                  <c:v>45.5</c:v>
                </c:pt>
                <c:pt idx="620">
                  <c:v>42.5</c:v>
                </c:pt>
                <c:pt idx="621">
                  <c:v>24.5</c:v>
                </c:pt>
                <c:pt idx="622">
                  <c:v>16</c:v>
                </c:pt>
                <c:pt idx="623">
                  <c:v>25.5</c:v>
                </c:pt>
                <c:pt idx="624">
                  <c:v>27</c:v>
                </c:pt>
                <c:pt idx="625">
                  <c:v>21.5</c:v>
                </c:pt>
                <c:pt idx="626">
                  <c:v>24.5</c:v>
                </c:pt>
                <c:pt idx="627">
                  <c:v>36.5</c:v>
                </c:pt>
                <c:pt idx="628">
                  <c:v>29.5</c:v>
                </c:pt>
                <c:pt idx="629">
                  <c:v>13</c:v>
                </c:pt>
                <c:pt idx="630">
                  <c:v>6.5</c:v>
                </c:pt>
                <c:pt idx="631">
                  <c:v>8</c:v>
                </c:pt>
                <c:pt idx="632">
                  <c:v>14</c:v>
                </c:pt>
                <c:pt idx="633">
                  <c:v>22</c:v>
                </c:pt>
                <c:pt idx="634">
                  <c:v>27.5</c:v>
                </c:pt>
                <c:pt idx="635">
                  <c:v>29</c:v>
                </c:pt>
                <c:pt idx="636">
                  <c:v>30.5</c:v>
                </c:pt>
                <c:pt idx="637">
                  <c:v>34.5</c:v>
                </c:pt>
                <c:pt idx="638">
                  <c:v>37.5</c:v>
                </c:pt>
                <c:pt idx="639">
                  <c:v>38</c:v>
                </c:pt>
                <c:pt idx="640">
                  <c:v>35.5</c:v>
                </c:pt>
                <c:pt idx="641">
                  <c:v>29</c:v>
                </c:pt>
                <c:pt idx="642">
                  <c:v>25.5</c:v>
                </c:pt>
                <c:pt idx="643">
                  <c:v>23</c:v>
                </c:pt>
                <c:pt idx="644">
                  <c:v>21</c:v>
                </c:pt>
                <c:pt idx="645">
                  <c:v>17</c:v>
                </c:pt>
                <c:pt idx="646">
                  <c:v>29.5</c:v>
                </c:pt>
                <c:pt idx="647">
                  <c:v>35</c:v>
                </c:pt>
                <c:pt idx="648">
                  <c:v>30.5</c:v>
                </c:pt>
                <c:pt idx="649">
                  <c:v>22.5</c:v>
                </c:pt>
                <c:pt idx="650">
                  <c:v>24.5</c:v>
                </c:pt>
                <c:pt idx="651">
                  <c:v>26.5</c:v>
                </c:pt>
                <c:pt idx="652">
                  <c:v>24</c:v>
                </c:pt>
                <c:pt idx="653">
                  <c:v>27.5</c:v>
                </c:pt>
                <c:pt idx="654">
                  <c:v>17</c:v>
                </c:pt>
                <c:pt idx="655">
                  <c:v>19.5</c:v>
                </c:pt>
                <c:pt idx="656">
                  <c:v>41.5</c:v>
                </c:pt>
                <c:pt idx="657">
                  <c:v>35</c:v>
                </c:pt>
                <c:pt idx="658">
                  <c:v>17</c:v>
                </c:pt>
                <c:pt idx="659">
                  <c:v>37</c:v>
                </c:pt>
                <c:pt idx="660">
                  <c:v>44</c:v>
                </c:pt>
                <c:pt idx="661">
                  <c:v>28.5</c:v>
                </c:pt>
                <c:pt idx="662">
                  <c:v>12</c:v>
                </c:pt>
                <c:pt idx="663">
                  <c:v>23.5</c:v>
                </c:pt>
                <c:pt idx="664">
                  <c:v>26</c:v>
                </c:pt>
                <c:pt idx="665">
                  <c:v>34</c:v>
                </c:pt>
                <c:pt idx="666">
                  <c:v>24.5</c:v>
                </c:pt>
                <c:pt idx="667">
                  <c:v>16</c:v>
                </c:pt>
                <c:pt idx="668">
                  <c:v>22</c:v>
                </c:pt>
                <c:pt idx="669">
                  <c:v>17.5</c:v>
                </c:pt>
                <c:pt idx="670">
                  <c:v>13</c:v>
                </c:pt>
                <c:pt idx="671">
                  <c:v>29.5</c:v>
                </c:pt>
                <c:pt idx="672">
                  <c:v>30.5</c:v>
                </c:pt>
                <c:pt idx="673">
                  <c:v>25</c:v>
                </c:pt>
                <c:pt idx="674">
                  <c:v>19</c:v>
                </c:pt>
                <c:pt idx="675">
                  <c:v>4</c:v>
                </c:pt>
                <c:pt idx="676">
                  <c:v>12.5</c:v>
                </c:pt>
                <c:pt idx="677">
                  <c:v>31.5</c:v>
                </c:pt>
                <c:pt idx="678">
                  <c:v>43</c:v>
                </c:pt>
                <c:pt idx="679">
                  <c:v>36.5</c:v>
                </c:pt>
                <c:pt idx="680">
                  <c:v>23.5</c:v>
                </c:pt>
                <c:pt idx="681">
                  <c:v>14.5</c:v>
                </c:pt>
                <c:pt idx="682">
                  <c:v>20</c:v>
                </c:pt>
                <c:pt idx="683">
                  <c:v>19.5</c:v>
                </c:pt>
                <c:pt idx="684">
                  <c:v>13</c:v>
                </c:pt>
                <c:pt idx="685">
                  <c:v>5</c:v>
                </c:pt>
                <c:pt idx="686">
                  <c:v>25.5</c:v>
                </c:pt>
                <c:pt idx="687">
                  <c:v>24</c:v>
                </c:pt>
                <c:pt idx="688">
                  <c:v>14.5</c:v>
                </c:pt>
                <c:pt idx="689">
                  <c:v>21.5</c:v>
                </c:pt>
                <c:pt idx="690">
                  <c:v>35.5</c:v>
                </c:pt>
                <c:pt idx="691">
                  <c:v>37</c:v>
                </c:pt>
                <c:pt idx="692">
                  <c:v>29</c:v>
                </c:pt>
                <c:pt idx="693">
                  <c:v>28.5</c:v>
                </c:pt>
                <c:pt idx="694">
                  <c:v>39</c:v>
                </c:pt>
                <c:pt idx="695">
                  <c:v>49</c:v>
                </c:pt>
                <c:pt idx="696">
                  <c:v>38.5</c:v>
                </c:pt>
                <c:pt idx="697">
                  <c:v>23.5</c:v>
                </c:pt>
                <c:pt idx="698">
                  <c:v>29.5</c:v>
                </c:pt>
                <c:pt idx="699">
                  <c:v>18</c:v>
                </c:pt>
                <c:pt idx="700">
                  <c:v>9</c:v>
                </c:pt>
                <c:pt idx="701">
                  <c:v>15</c:v>
                </c:pt>
                <c:pt idx="702">
                  <c:v>17</c:v>
                </c:pt>
                <c:pt idx="703">
                  <c:v>23.5</c:v>
                </c:pt>
                <c:pt idx="704">
                  <c:v>29.5</c:v>
                </c:pt>
                <c:pt idx="705">
                  <c:v>29.5</c:v>
                </c:pt>
                <c:pt idx="706">
                  <c:v>18</c:v>
                </c:pt>
                <c:pt idx="707">
                  <c:v>18</c:v>
                </c:pt>
                <c:pt idx="708">
                  <c:v>21</c:v>
                </c:pt>
                <c:pt idx="709">
                  <c:v>24</c:v>
                </c:pt>
                <c:pt idx="710">
                  <c:v>34</c:v>
                </c:pt>
                <c:pt idx="711">
                  <c:v>30</c:v>
                </c:pt>
                <c:pt idx="712">
                  <c:v>13</c:v>
                </c:pt>
                <c:pt idx="713">
                  <c:v>12</c:v>
                </c:pt>
                <c:pt idx="714">
                  <c:v>40</c:v>
                </c:pt>
                <c:pt idx="715">
                  <c:v>52</c:v>
                </c:pt>
                <c:pt idx="716">
                  <c:v>45.5</c:v>
                </c:pt>
                <c:pt idx="717">
                  <c:v>40</c:v>
                </c:pt>
                <c:pt idx="718">
                  <c:v>35</c:v>
                </c:pt>
                <c:pt idx="719">
                  <c:v>29</c:v>
                </c:pt>
                <c:pt idx="720">
                  <c:v>22.5</c:v>
                </c:pt>
                <c:pt idx="721">
                  <c:v>26.5</c:v>
                </c:pt>
                <c:pt idx="722">
                  <c:v>25.5</c:v>
                </c:pt>
                <c:pt idx="723">
                  <c:v>16.5</c:v>
                </c:pt>
                <c:pt idx="724">
                  <c:v>21</c:v>
                </c:pt>
                <c:pt idx="725">
                  <c:v>28.5</c:v>
                </c:pt>
                <c:pt idx="726">
                  <c:v>30</c:v>
                </c:pt>
                <c:pt idx="727">
                  <c:v>30.5</c:v>
                </c:pt>
                <c:pt idx="728">
                  <c:v>24</c:v>
                </c:pt>
                <c:pt idx="729">
                  <c:v>14.5</c:v>
                </c:pt>
                <c:pt idx="730">
                  <c:v>17</c:v>
                </c:pt>
                <c:pt idx="731">
                  <c:v>18</c:v>
                </c:pt>
                <c:pt idx="732">
                  <c:v>17.5</c:v>
                </c:pt>
                <c:pt idx="733">
                  <c:v>25.5</c:v>
                </c:pt>
                <c:pt idx="734">
                  <c:v>30</c:v>
                </c:pt>
                <c:pt idx="735">
                  <c:v>21</c:v>
                </c:pt>
                <c:pt idx="736">
                  <c:v>18.5</c:v>
                </c:pt>
                <c:pt idx="737">
                  <c:v>7</c:v>
                </c:pt>
                <c:pt idx="738">
                  <c:v>14.5</c:v>
                </c:pt>
                <c:pt idx="739">
                  <c:v>30.5</c:v>
                </c:pt>
                <c:pt idx="740">
                  <c:v>33.5</c:v>
                </c:pt>
                <c:pt idx="741">
                  <c:v>29.5</c:v>
                </c:pt>
                <c:pt idx="742">
                  <c:v>32</c:v>
                </c:pt>
                <c:pt idx="743">
                  <c:v>37.5</c:v>
                </c:pt>
                <c:pt idx="744">
                  <c:v>31.5</c:v>
                </c:pt>
                <c:pt idx="745">
                  <c:v>25.5</c:v>
                </c:pt>
                <c:pt idx="746">
                  <c:v>24</c:v>
                </c:pt>
                <c:pt idx="747">
                  <c:v>39</c:v>
                </c:pt>
                <c:pt idx="748">
                  <c:v>39</c:v>
                </c:pt>
                <c:pt idx="749">
                  <c:v>23</c:v>
                </c:pt>
                <c:pt idx="750">
                  <c:v>23.5</c:v>
                </c:pt>
                <c:pt idx="751">
                  <c:v>26.5</c:v>
                </c:pt>
                <c:pt idx="752">
                  <c:v>22</c:v>
                </c:pt>
                <c:pt idx="753">
                  <c:v>17</c:v>
                </c:pt>
                <c:pt idx="754">
                  <c:v>19.5</c:v>
                </c:pt>
                <c:pt idx="755">
                  <c:v>23</c:v>
                </c:pt>
                <c:pt idx="756">
                  <c:v>8.5</c:v>
                </c:pt>
                <c:pt idx="757">
                  <c:v>25.5</c:v>
                </c:pt>
                <c:pt idx="758">
                  <c:v>49</c:v>
                </c:pt>
                <c:pt idx="759">
                  <c:v>45.5</c:v>
                </c:pt>
                <c:pt idx="760">
                  <c:v>20</c:v>
                </c:pt>
                <c:pt idx="761">
                  <c:v>10.5</c:v>
                </c:pt>
                <c:pt idx="762">
                  <c:v>13.5</c:v>
                </c:pt>
                <c:pt idx="763">
                  <c:v>20.5</c:v>
                </c:pt>
                <c:pt idx="764">
                  <c:v>29.5</c:v>
                </c:pt>
                <c:pt idx="765">
                  <c:v>23.5</c:v>
                </c:pt>
                <c:pt idx="766">
                  <c:v>23.5</c:v>
                </c:pt>
                <c:pt idx="767">
                  <c:v>39.5</c:v>
                </c:pt>
                <c:pt idx="768">
                  <c:v>35</c:v>
                </c:pt>
                <c:pt idx="769">
                  <c:v>18</c:v>
                </c:pt>
                <c:pt idx="770">
                  <c:v>21</c:v>
                </c:pt>
                <c:pt idx="771">
                  <c:v>20</c:v>
                </c:pt>
                <c:pt idx="772">
                  <c:v>21</c:v>
                </c:pt>
                <c:pt idx="773">
                  <c:v>30.5</c:v>
                </c:pt>
                <c:pt idx="774">
                  <c:v>39.5</c:v>
                </c:pt>
                <c:pt idx="775">
                  <c:v>43</c:v>
                </c:pt>
                <c:pt idx="776">
                  <c:v>38.5</c:v>
                </c:pt>
                <c:pt idx="777">
                  <c:v>20.5</c:v>
                </c:pt>
                <c:pt idx="778">
                  <c:v>17</c:v>
                </c:pt>
                <c:pt idx="779">
                  <c:v>31.5</c:v>
                </c:pt>
                <c:pt idx="780">
                  <c:v>29</c:v>
                </c:pt>
                <c:pt idx="781">
                  <c:v>29</c:v>
                </c:pt>
                <c:pt idx="782">
                  <c:v>40.5</c:v>
                </c:pt>
                <c:pt idx="783">
                  <c:v>48.5</c:v>
                </c:pt>
                <c:pt idx="784">
                  <c:v>33</c:v>
                </c:pt>
                <c:pt idx="785">
                  <c:v>20</c:v>
                </c:pt>
                <c:pt idx="786">
                  <c:v>25.5</c:v>
                </c:pt>
                <c:pt idx="787">
                  <c:v>25.5</c:v>
                </c:pt>
                <c:pt idx="788">
                  <c:v>13</c:v>
                </c:pt>
                <c:pt idx="789">
                  <c:v>21.5</c:v>
                </c:pt>
                <c:pt idx="790">
                  <c:v>26.5</c:v>
                </c:pt>
                <c:pt idx="791">
                  <c:v>33.5</c:v>
                </c:pt>
                <c:pt idx="792">
                  <c:v>43</c:v>
                </c:pt>
                <c:pt idx="793">
                  <c:v>44</c:v>
                </c:pt>
                <c:pt idx="794">
                  <c:v>34</c:v>
                </c:pt>
                <c:pt idx="795">
                  <c:v>24</c:v>
                </c:pt>
                <c:pt idx="796">
                  <c:v>26.5</c:v>
                </c:pt>
                <c:pt idx="797">
                  <c:v>31</c:v>
                </c:pt>
                <c:pt idx="798">
                  <c:v>25.5</c:v>
                </c:pt>
                <c:pt idx="799">
                  <c:v>18</c:v>
                </c:pt>
                <c:pt idx="800">
                  <c:v>23</c:v>
                </c:pt>
                <c:pt idx="801">
                  <c:v>28</c:v>
                </c:pt>
                <c:pt idx="802">
                  <c:v>25.5</c:v>
                </c:pt>
                <c:pt idx="803">
                  <c:v>18</c:v>
                </c:pt>
                <c:pt idx="804">
                  <c:v>20</c:v>
                </c:pt>
                <c:pt idx="805">
                  <c:v>22.5</c:v>
                </c:pt>
                <c:pt idx="806">
                  <c:v>16.5</c:v>
                </c:pt>
                <c:pt idx="807">
                  <c:v>31.5</c:v>
                </c:pt>
                <c:pt idx="808">
                  <c:v>26</c:v>
                </c:pt>
                <c:pt idx="809">
                  <c:v>8.5</c:v>
                </c:pt>
                <c:pt idx="810">
                  <c:v>18.5</c:v>
                </c:pt>
                <c:pt idx="811">
                  <c:v>16</c:v>
                </c:pt>
                <c:pt idx="812">
                  <c:v>22.5</c:v>
                </c:pt>
                <c:pt idx="813">
                  <c:v>19.5</c:v>
                </c:pt>
                <c:pt idx="814">
                  <c:v>27</c:v>
                </c:pt>
                <c:pt idx="815">
                  <c:v>16.5</c:v>
                </c:pt>
                <c:pt idx="816">
                  <c:v>24.5</c:v>
                </c:pt>
                <c:pt idx="817">
                  <c:v>35.5</c:v>
                </c:pt>
                <c:pt idx="818">
                  <c:v>30.5</c:v>
                </c:pt>
                <c:pt idx="819">
                  <c:v>22</c:v>
                </c:pt>
                <c:pt idx="820">
                  <c:v>15.5</c:v>
                </c:pt>
                <c:pt idx="821">
                  <c:v>15.5</c:v>
                </c:pt>
                <c:pt idx="822">
                  <c:v>18.5</c:v>
                </c:pt>
                <c:pt idx="823">
                  <c:v>18.5</c:v>
                </c:pt>
                <c:pt idx="824">
                  <c:v>23.5</c:v>
                </c:pt>
                <c:pt idx="825">
                  <c:v>23</c:v>
                </c:pt>
                <c:pt idx="826">
                  <c:v>17.5</c:v>
                </c:pt>
                <c:pt idx="827">
                  <c:v>25</c:v>
                </c:pt>
                <c:pt idx="828">
                  <c:v>25</c:v>
                </c:pt>
                <c:pt idx="829">
                  <c:v>29</c:v>
                </c:pt>
                <c:pt idx="830">
                  <c:v>37</c:v>
                </c:pt>
                <c:pt idx="831">
                  <c:v>44.5</c:v>
                </c:pt>
                <c:pt idx="832">
                  <c:v>36.5</c:v>
                </c:pt>
                <c:pt idx="833">
                  <c:v>19</c:v>
                </c:pt>
                <c:pt idx="834">
                  <c:v>21.5</c:v>
                </c:pt>
                <c:pt idx="835">
                  <c:v>36</c:v>
                </c:pt>
                <c:pt idx="836">
                  <c:v>27</c:v>
                </c:pt>
                <c:pt idx="837">
                  <c:v>14.5</c:v>
                </c:pt>
                <c:pt idx="838">
                  <c:v>10</c:v>
                </c:pt>
                <c:pt idx="839">
                  <c:v>11.5</c:v>
                </c:pt>
                <c:pt idx="840">
                  <c:v>17.5</c:v>
                </c:pt>
                <c:pt idx="841">
                  <c:v>25.5</c:v>
                </c:pt>
                <c:pt idx="842">
                  <c:v>46</c:v>
                </c:pt>
                <c:pt idx="843">
                  <c:v>55.5</c:v>
                </c:pt>
                <c:pt idx="844">
                  <c:v>48</c:v>
                </c:pt>
                <c:pt idx="845">
                  <c:v>35.5</c:v>
                </c:pt>
                <c:pt idx="846">
                  <c:v>26.5</c:v>
                </c:pt>
                <c:pt idx="847">
                  <c:v>22</c:v>
                </c:pt>
                <c:pt idx="848">
                  <c:v>17</c:v>
                </c:pt>
                <c:pt idx="849">
                  <c:v>17.5</c:v>
                </c:pt>
                <c:pt idx="850">
                  <c:v>18</c:v>
                </c:pt>
                <c:pt idx="851">
                  <c:v>25.5</c:v>
                </c:pt>
                <c:pt idx="852">
                  <c:v>31.5</c:v>
                </c:pt>
                <c:pt idx="853">
                  <c:v>31</c:v>
                </c:pt>
                <c:pt idx="854">
                  <c:v>25</c:v>
                </c:pt>
                <c:pt idx="855">
                  <c:v>12.5</c:v>
                </c:pt>
                <c:pt idx="856">
                  <c:v>20</c:v>
                </c:pt>
                <c:pt idx="857">
                  <c:v>15.5</c:v>
                </c:pt>
                <c:pt idx="858">
                  <c:v>24</c:v>
                </c:pt>
                <c:pt idx="859">
                  <c:v>38</c:v>
                </c:pt>
                <c:pt idx="860">
                  <c:v>41.5</c:v>
                </c:pt>
                <c:pt idx="861">
                  <c:v>25.5</c:v>
                </c:pt>
                <c:pt idx="862">
                  <c:v>30.5</c:v>
                </c:pt>
                <c:pt idx="863">
                  <c:v>45.5</c:v>
                </c:pt>
                <c:pt idx="864">
                  <c:v>44</c:v>
                </c:pt>
                <c:pt idx="865">
                  <c:v>34.5</c:v>
                </c:pt>
                <c:pt idx="866">
                  <c:v>21.5</c:v>
                </c:pt>
                <c:pt idx="867">
                  <c:v>16</c:v>
                </c:pt>
                <c:pt idx="868">
                  <c:v>23.5</c:v>
                </c:pt>
                <c:pt idx="869">
                  <c:v>24.5</c:v>
                </c:pt>
                <c:pt idx="870">
                  <c:v>27</c:v>
                </c:pt>
                <c:pt idx="871">
                  <c:v>30</c:v>
                </c:pt>
                <c:pt idx="872">
                  <c:v>37</c:v>
                </c:pt>
                <c:pt idx="873">
                  <c:v>56.5</c:v>
                </c:pt>
                <c:pt idx="874">
                  <c:v>71.5</c:v>
                </c:pt>
                <c:pt idx="875">
                  <c:v>54.5</c:v>
                </c:pt>
                <c:pt idx="876">
                  <c:v>27</c:v>
                </c:pt>
                <c:pt idx="877">
                  <c:v>30</c:v>
                </c:pt>
                <c:pt idx="878">
                  <c:v>32.5</c:v>
                </c:pt>
                <c:pt idx="879">
                  <c:v>32</c:v>
                </c:pt>
                <c:pt idx="880">
                  <c:v>27</c:v>
                </c:pt>
                <c:pt idx="881">
                  <c:v>14.5</c:v>
                </c:pt>
                <c:pt idx="882">
                  <c:v>10.5</c:v>
                </c:pt>
                <c:pt idx="883">
                  <c:v>21.5</c:v>
                </c:pt>
                <c:pt idx="884">
                  <c:v>31.5</c:v>
                </c:pt>
                <c:pt idx="885">
                  <c:v>31.5</c:v>
                </c:pt>
                <c:pt idx="886">
                  <c:v>30.5</c:v>
                </c:pt>
                <c:pt idx="887">
                  <c:v>23.5</c:v>
                </c:pt>
                <c:pt idx="888">
                  <c:v>13.5</c:v>
                </c:pt>
                <c:pt idx="889">
                  <c:v>9</c:v>
                </c:pt>
                <c:pt idx="890">
                  <c:v>9.5</c:v>
                </c:pt>
                <c:pt idx="891">
                  <c:v>19</c:v>
                </c:pt>
                <c:pt idx="892">
                  <c:v>30.5</c:v>
                </c:pt>
                <c:pt idx="893">
                  <c:v>28</c:v>
                </c:pt>
                <c:pt idx="894">
                  <c:v>23</c:v>
                </c:pt>
                <c:pt idx="895">
                  <c:v>23</c:v>
                </c:pt>
                <c:pt idx="896">
                  <c:v>20.5</c:v>
                </c:pt>
                <c:pt idx="897">
                  <c:v>28</c:v>
                </c:pt>
                <c:pt idx="898">
                  <c:v>37.5</c:v>
                </c:pt>
                <c:pt idx="899">
                  <c:v>27.5</c:v>
                </c:pt>
                <c:pt idx="900">
                  <c:v>22.5</c:v>
                </c:pt>
                <c:pt idx="901">
                  <c:v>35.5</c:v>
                </c:pt>
                <c:pt idx="902">
                  <c:v>41</c:v>
                </c:pt>
                <c:pt idx="903">
                  <c:v>46.5</c:v>
                </c:pt>
                <c:pt idx="904">
                  <c:v>44.5</c:v>
                </c:pt>
                <c:pt idx="905">
                  <c:v>35.5</c:v>
                </c:pt>
                <c:pt idx="906">
                  <c:v>26.5</c:v>
                </c:pt>
                <c:pt idx="907">
                  <c:v>28</c:v>
                </c:pt>
                <c:pt idx="908">
                  <c:v>21</c:v>
                </c:pt>
                <c:pt idx="909">
                  <c:v>15.5</c:v>
                </c:pt>
                <c:pt idx="910">
                  <c:v>14.5</c:v>
                </c:pt>
                <c:pt idx="911">
                  <c:v>23</c:v>
                </c:pt>
                <c:pt idx="912">
                  <c:v>19.5</c:v>
                </c:pt>
                <c:pt idx="913">
                  <c:v>27</c:v>
                </c:pt>
                <c:pt idx="914">
                  <c:v>31</c:v>
                </c:pt>
                <c:pt idx="915">
                  <c:v>24</c:v>
                </c:pt>
                <c:pt idx="916">
                  <c:v>25.5</c:v>
                </c:pt>
                <c:pt idx="917">
                  <c:v>32</c:v>
                </c:pt>
                <c:pt idx="918">
                  <c:v>29</c:v>
                </c:pt>
                <c:pt idx="919">
                  <c:v>19.5</c:v>
                </c:pt>
                <c:pt idx="920">
                  <c:v>9.5</c:v>
                </c:pt>
                <c:pt idx="921">
                  <c:v>18</c:v>
                </c:pt>
                <c:pt idx="922">
                  <c:v>39.5</c:v>
                </c:pt>
                <c:pt idx="923">
                  <c:v>47</c:v>
                </c:pt>
                <c:pt idx="924">
                  <c:v>35</c:v>
                </c:pt>
                <c:pt idx="925">
                  <c:v>26.5</c:v>
                </c:pt>
                <c:pt idx="926">
                  <c:v>34</c:v>
                </c:pt>
                <c:pt idx="927">
                  <c:v>30</c:v>
                </c:pt>
                <c:pt idx="928">
                  <c:v>11</c:v>
                </c:pt>
                <c:pt idx="929">
                  <c:v>15</c:v>
                </c:pt>
                <c:pt idx="930">
                  <c:v>19</c:v>
                </c:pt>
                <c:pt idx="931">
                  <c:v>24</c:v>
                </c:pt>
                <c:pt idx="932">
                  <c:v>23.5</c:v>
                </c:pt>
                <c:pt idx="933">
                  <c:v>28</c:v>
                </c:pt>
                <c:pt idx="934">
                  <c:v>30.5</c:v>
                </c:pt>
                <c:pt idx="935">
                  <c:v>42</c:v>
                </c:pt>
                <c:pt idx="936">
                  <c:v>42</c:v>
                </c:pt>
                <c:pt idx="937">
                  <c:v>18</c:v>
                </c:pt>
                <c:pt idx="938">
                  <c:v>34</c:v>
                </c:pt>
                <c:pt idx="939">
                  <c:v>55.5</c:v>
                </c:pt>
                <c:pt idx="940">
                  <c:v>47</c:v>
                </c:pt>
                <c:pt idx="941">
                  <c:v>49.5</c:v>
                </c:pt>
                <c:pt idx="942">
                  <c:v>52</c:v>
                </c:pt>
                <c:pt idx="943">
                  <c:v>36.5</c:v>
                </c:pt>
                <c:pt idx="944">
                  <c:v>43</c:v>
                </c:pt>
                <c:pt idx="945">
                  <c:v>38</c:v>
                </c:pt>
                <c:pt idx="946">
                  <c:v>29.5</c:v>
                </c:pt>
                <c:pt idx="947">
                  <c:v>39</c:v>
                </c:pt>
                <c:pt idx="948">
                  <c:v>31</c:v>
                </c:pt>
                <c:pt idx="949">
                  <c:v>9</c:v>
                </c:pt>
                <c:pt idx="950">
                  <c:v>15.5</c:v>
                </c:pt>
                <c:pt idx="951">
                  <c:v>22.5</c:v>
                </c:pt>
                <c:pt idx="952">
                  <c:v>19</c:v>
                </c:pt>
                <c:pt idx="953">
                  <c:v>25.5</c:v>
                </c:pt>
                <c:pt idx="954">
                  <c:v>32.5</c:v>
                </c:pt>
                <c:pt idx="955">
                  <c:v>33.5</c:v>
                </c:pt>
                <c:pt idx="956">
                  <c:v>20.5</c:v>
                </c:pt>
                <c:pt idx="957">
                  <c:v>12</c:v>
                </c:pt>
                <c:pt idx="958">
                  <c:v>33</c:v>
                </c:pt>
                <c:pt idx="959">
                  <c:v>39.5</c:v>
                </c:pt>
                <c:pt idx="960">
                  <c:v>31.5</c:v>
                </c:pt>
                <c:pt idx="961">
                  <c:v>19.5</c:v>
                </c:pt>
                <c:pt idx="962">
                  <c:v>46</c:v>
                </c:pt>
                <c:pt idx="963">
                  <c:v>51.5</c:v>
                </c:pt>
                <c:pt idx="964">
                  <c:v>28.5</c:v>
                </c:pt>
                <c:pt idx="965">
                  <c:v>27</c:v>
                </c:pt>
                <c:pt idx="966">
                  <c:v>42</c:v>
                </c:pt>
                <c:pt idx="967">
                  <c:v>59.5</c:v>
                </c:pt>
                <c:pt idx="968">
                  <c:v>68</c:v>
                </c:pt>
                <c:pt idx="969">
                  <c:v>58</c:v>
                </c:pt>
                <c:pt idx="970">
                  <c:v>43</c:v>
                </c:pt>
                <c:pt idx="971">
                  <c:v>35</c:v>
                </c:pt>
                <c:pt idx="972">
                  <c:v>25.5</c:v>
                </c:pt>
                <c:pt idx="973">
                  <c:v>27.5</c:v>
                </c:pt>
                <c:pt idx="974">
                  <c:v>24</c:v>
                </c:pt>
                <c:pt idx="975">
                  <c:v>37.5</c:v>
                </c:pt>
                <c:pt idx="976">
                  <c:v>46</c:v>
                </c:pt>
                <c:pt idx="977">
                  <c:v>27</c:v>
                </c:pt>
                <c:pt idx="978">
                  <c:v>25</c:v>
                </c:pt>
                <c:pt idx="979">
                  <c:v>29</c:v>
                </c:pt>
                <c:pt idx="980">
                  <c:v>25</c:v>
                </c:pt>
                <c:pt idx="981">
                  <c:v>15.5</c:v>
                </c:pt>
                <c:pt idx="982">
                  <c:v>6</c:v>
                </c:pt>
                <c:pt idx="983">
                  <c:v>28.5</c:v>
                </c:pt>
                <c:pt idx="984">
                  <c:v>49</c:v>
                </c:pt>
                <c:pt idx="985">
                  <c:v>46</c:v>
                </c:pt>
                <c:pt idx="986">
                  <c:v>21.5</c:v>
                </c:pt>
                <c:pt idx="987">
                  <c:v>18</c:v>
                </c:pt>
                <c:pt idx="988">
                  <c:v>27.5</c:v>
                </c:pt>
                <c:pt idx="989">
                  <c:v>27.5</c:v>
                </c:pt>
                <c:pt idx="990">
                  <c:v>23</c:v>
                </c:pt>
                <c:pt idx="991">
                  <c:v>9.5</c:v>
                </c:pt>
                <c:pt idx="992">
                  <c:v>20</c:v>
                </c:pt>
                <c:pt idx="993">
                  <c:v>33</c:v>
                </c:pt>
                <c:pt idx="994">
                  <c:v>26</c:v>
                </c:pt>
                <c:pt idx="995">
                  <c:v>29</c:v>
                </c:pt>
                <c:pt idx="996">
                  <c:v>50.5</c:v>
                </c:pt>
                <c:pt idx="997">
                  <c:v>70</c:v>
                </c:pt>
                <c:pt idx="998">
                  <c:v>67</c:v>
                </c:pt>
                <c:pt idx="999">
                  <c:v>46.5</c:v>
                </c:pt>
                <c:pt idx="1000">
                  <c:v>34</c:v>
                </c:pt>
                <c:pt idx="1001">
                  <c:v>23</c:v>
                </c:pt>
                <c:pt idx="1002">
                  <c:v>8.5</c:v>
                </c:pt>
                <c:pt idx="1003">
                  <c:v>19.5</c:v>
                </c:pt>
                <c:pt idx="1004">
                  <c:v>26.5</c:v>
                </c:pt>
                <c:pt idx="1005">
                  <c:v>51.5</c:v>
                </c:pt>
                <c:pt idx="1006">
                  <c:v>78</c:v>
                </c:pt>
                <c:pt idx="1007">
                  <c:v>73.5</c:v>
                </c:pt>
                <c:pt idx="1008">
                  <c:v>56.5</c:v>
                </c:pt>
                <c:pt idx="1009">
                  <c:v>53.5</c:v>
                </c:pt>
                <c:pt idx="1010">
                  <c:v>46.5</c:v>
                </c:pt>
                <c:pt idx="1011">
                  <c:v>24.5</c:v>
                </c:pt>
                <c:pt idx="1012">
                  <c:v>46.5</c:v>
                </c:pt>
                <c:pt idx="1013">
                  <c:v>47</c:v>
                </c:pt>
                <c:pt idx="1014">
                  <c:v>23</c:v>
                </c:pt>
                <c:pt idx="1015">
                  <c:v>31</c:v>
                </c:pt>
                <c:pt idx="1016">
                  <c:v>28</c:v>
                </c:pt>
                <c:pt idx="1017">
                  <c:v>18</c:v>
                </c:pt>
                <c:pt idx="1018">
                  <c:v>41</c:v>
                </c:pt>
                <c:pt idx="1019">
                  <c:v>50</c:v>
                </c:pt>
                <c:pt idx="1020">
                  <c:v>46</c:v>
                </c:pt>
                <c:pt idx="1021">
                  <c:v>30.5</c:v>
                </c:pt>
                <c:pt idx="1022">
                  <c:v>27</c:v>
                </c:pt>
                <c:pt idx="1023">
                  <c:v>26.5</c:v>
                </c:pt>
                <c:pt idx="1024">
                  <c:v>32</c:v>
                </c:pt>
                <c:pt idx="1025">
                  <c:v>36</c:v>
                </c:pt>
                <c:pt idx="1026">
                  <c:v>46</c:v>
                </c:pt>
                <c:pt idx="1027">
                  <c:v>47</c:v>
                </c:pt>
                <c:pt idx="1028">
                  <c:v>33.5</c:v>
                </c:pt>
                <c:pt idx="1029">
                  <c:v>32</c:v>
                </c:pt>
                <c:pt idx="1030">
                  <c:v>37.5</c:v>
                </c:pt>
                <c:pt idx="1031">
                  <c:v>43</c:v>
                </c:pt>
                <c:pt idx="1032">
                  <c:v>57</c:v>
                </c:pt>
                <c:pt idx="1033">
                  <c:v>53.5</c:v>
                </c:pt>
                <c:pt idx="1034">
                  <c:v>35</c:v>
                </c:pt>
                <c:pt idx="1035">
                  <c:v>33.5</c:v>
                </c:pt>
                <c:pt idx="1036">
                  <c:v>30</c:v>
                </c:pt>
                <c:pt idx="1037">
                  <c:v>18.5</c:v>
                </c:pt>
                <c:pt idx="1038">
                  <c:v>8.5</c:v>
                </c:pt>
                <c:pt idx="1039">
                  <c:v>17</c:v>
                </c:pt>
                <c:pt idx="1040">
                  <c:v>23</c:v>
                </c:pt>
                <c:pt idx="1041">
                  <c:v>8</c:v>
                </c:pt>
                <c:pt idx="1042">
                  <c:v>26.5</c:v>
                </c:pt>
                <c:pt idx="1043">
                  <c:v>35.5</c:v>
                </c:pt>
                <c:pt idx="1044">
                  <c:v>25</c:v>
                </c:pt>
                <c:pt idx="1045">
                  <c:v>15.5</c:v>
                </c:pt>
                <c:pt idx="1046">
                  <c:v>22</c:v>
                </c:pt>
                <c:pt idx="1047">
                  <c:v>26.5</c:v>
                </c:pt>
                <c:pt idx="1048">
                  <c:v>33</c:v>
                </c:pt>
                <c:pt idx="1049">
                  <c:v>34.5</c:v>
                </c:pt>
                <c:pt idx="1050">
                  <c:v>38</c:v>
                </c:pt>
                <c:pt idx="1051">
                  <c:v>42</c:v>
                </c:pt>
                <c:pt idx="1052">
                  <c:v>41.5</c:v>
                </c:pt>
                <c:pt idx="1053">
                  <c:v>31.5</c:v>
                </c:pt>
                <c:pt idx="1054">
                  <c:v>28</c:v>
                </c:pt>
                <c:pt idx="1055">
                  <c:v>35.5</c:v>
                </c:pt>
                <c:pt idx="1056">
                  <c:v>35</c:v>
                </c:pt>
                <c:pt idx="1057">
                  <c:v>29</c:v>
                </c:pt>
                <c:pt idx="1058">
                  <c:v>23.5</c:v>
                </c:pt>
                <c:pt idx="1059">
                  <c:v>24</c:v>
                </c:pt>
                <c:pt idx="1060">
                  <c:v>38.5</c:v>
                </c:pt>
                <c:pt idx="1061">
                  <c:v>52</c:v>
                </c:pt>
                <c:pt idx="1062">
                  <c:v>56</c:v>
                </c:pt>
                <c:pt idx="1063">
                  <c:v>46</c:v>
                </c:pt>
                <c:pt idx="1064">
                  <c:v>33.5</c:v>
                </c:pt>
                <c:pt idx="1065">
                  <c:v>22.5</c:v>
                </c:pt>
                <c:pt idx="1066">
                  <c:v>15.5</c:v>
                </c:pt>
                <c:pt idx="1067">
                  <c:v>20.5</c:v>
                </c:pt>
                <c:pt idx="1068">
                  <c:v>21</c:v>
                </c:pt>
                <c:pt idx="1069">
                  <c:v>21.5</c:v>
                </c:pt>
                <c:pt idx="1070">
                  <c:v>23.5</c:v>
                </c:pt>
                <c:pt idx="1071">
                  <c:v>30</c:v>
                </c:pt>
                <c:pt idx="1072">
                  <c:v>39.5</c:v>
                </c:pt>
                <c:pt idx="1073">
                  <c:v>41.5</c:v>
                </c:pt>
                <c:pt idx="1074">
                  <c:v>30.5</c:v>
                </c:pt>
                <c:pt idx="1075">
                  <c:v>25.5</c:v>
                </c:pt>
                <c:pt idx="1076">
                  <c:v>32.5</c:v>
                </c:pt>
                <c:pt idx="1077">
                  <c:v>57</c:v>
                </c:pt>
                <c:pt idx="1078">
                  <c:v>62.5</c:v>
                </c:pt>
                <c:pt idx="1079">
                  <c:v>51.5</c:v>
                </c:pt>
                <c:pt idx="1080">
                  <c:v>34</c:v>
                </c:pt>
                <c:pt idx="1081">
                  <c:v>22.5</c:v>
                </c:pt>
                <c:pt idx="1082">
                  <c:v>22.5</c:v>
                </c:pt>
                <c:pt idx="1083">
                  <c:v>10</c:v>
                </c:pt>
                <c:pt idx="1084">
                  <c:v>18.5</c:v>
                </c:pt>
                <c:pt idx="1085">
                  <c:v>30.5</c:v>
                </c:pt>
                <c:pt idx="1086">
                  <c:v>25.5</c:v>
                </c:pt>
                <c:pt idx="1087">
                  <c:v>23.5</c:v>
                </c:pt>
                <c:pt idx="1088">
                  <c:v>36.5</c:v>
                </c:pt>
                <c:pt idx="1089">
                  <c:v>52</c:v>
                </c:pt>
                <c:pt idx="1090">
                  <c:v>53</c:v>
                </c:pt>
                <c:pt idx="1091">
                  <c:v>32.5</c:v>
                </c:pt>
                <c:pt idx="1092">
                  <c:v>25</c:v>
                </c:pt>
                <c:pt idx="1093">
                  <c:v>36</c:v>
                </c:pt>
                <c:pt idx="1094">
                  <c:v>47</c:v>
                </c:pt>
                <c:pt idx="1095">
                  <c:v>48.5</c:v>
                </c:pt>
                <c:pt idx="1096">
                  <c:v>33.5</c:v>
                </c:pt>
                <c:pt idx="1097">
                  <c:v>43.5</c:v>
                </c:pt>
                <c:pt idx="1098">
                  <c:v>53</c:v>
                </c:pt>
                <c:pt idx="1099">
                  <c:v>59</c:v>
                </c:pt>
                <c:pt idx="1100">
                  <c:v>65.5</c:v>
                </c:pt>
                <c:pt idx="1101">
                  <c:v>68</c:v>
                </c:pt>
                <c:pt idx="1102">
                  <c:v>54.5</c:v>
                </c:pt>
                <c:pt idx="1103">
                  <c:v>36.5</c:v>
                </c:pt>
                <c:pt idx="1104">
                  <c:v>42</c:v>
                </c:pt>
                <c:pt idx="1105">
                  <c:v>29.5</c:v>
                </c:pt>
                <c:pt idx="1106">
                  <c:v>31.5</c:v>
                </c:pt>
                <c:pt idx="1107">
                  <c:v>38</c:v>
                </c:pt>
                <c:pt idx="1108">
                  <c:v>39.5</c:v>
                </c:pt>
                <c:pt idx="1109">
                  <c:v>30.5</c:v>
                </c:pt>
                <c:pt idx="1110">
                  <c:v>32.5</c:v>
                </c:pt>
                <c:pt idx="1111">
                  <c:v>46</c:v>
                </c:pt>
                <c:pt idx="1112">
                  <c:v>54</c:v>
                </c:pt>
                <c:pt idx="1113">
                  <c:v>48</c:v>
                </c:pt>
                <c:pt idx="1114">
                  <c:v>29.5</c:v>
                </c:pt>
                <c:pt idx="1115">
                  <c:v>13</c:v>
                </c:pt>
                <c:pt idx="1116">
                  <c:v>26.5</c:v>
                </c:pt>
                <c:pt idx="1117">
                  <c:v>32</c:v>
                </c:pt>
                <c:pt idx="1118">
                  <c:v>27</c:v>
                </c:pt>
                <c:pt idx="1119">
                  <c:v>29.5</c:v>
                </c:pt>
                <c:pt idx="1120">
                  <c:v>23</c:v>
                </c:pt>
                <c:pt idx="1121">
                  <c:v>18</c:v>
                </c:pt>
                <c:pt idx="1122">
                  <c:v>28.5</c:v>
                </c:pt>
                <c:pt idx="1123">
                  <c:v>38.5</c:v>
                </c:pt>
                <c:pt idx="1124">
                  <c:v>37.5</c:v>
                </c:pt>
                <c:pt idx="1125">
                  <c:v>23</c:v>
                </c:pt>
                <c:pt idx="1126">
                  <c:v>9</c:v>
                </c:pt>
                <c:pt idx="1127">
                  <c:v>21</c:v>
                </c:pt>
                <c:pt idx="1128">
                  <c:v>31.5</c:v>
                </c:pt>
                <c:pt idx="1129">
                  <c:v>29</c:v>
                </c:pt>
                <c:pt idx="1130">
                  <c:v>39</c:v>
                </c:pt>
                <c:pt idx="1131">
                  <c:v>45</c:v>
                </c:pt>
                <c:pt idx="1132">
                  <c:v>35</c:v>
                </c:pt>
                <c:pt idx="1133">
                  <c:v>29</c:v>
                </c:pt>
                <c:pt idx="1134">
                  <c:v>35</c:v>
                </c:pt>
                <c:pt idx="1135">
                  <c:v>34.5</c:v>
                </c:pt>
                <c:pt idx="1136">
                  <c:v>23.5</c:v>
                </c:pt>
                <c:pt idx="1137">
                  <c:v>10</c:v>
                </c:pt>
                <c:pt idx="1138">
                  <c:v>25</c:v>
                </c:pt>
                <c:pt idx="1139">
                  <c:v>43</c:v>
                </c:pt>
                <c:pt idx="1140">
                  <c:v>42.5</c:v>
                </c:pt>
                <c:pt idx="1141">
                  <c:v>29.5</c:v>
                </c:pt>
                <c:pt idx="1142">
                  <c:v>21</c:v>
                </c:pt>
                <c:pt idx="1143">
                  <c:v>37</c:v>
                </c:pt>
                <c:pt idx="1144">
                  <c:v>41</c:v>
                </c:pt>
                <c:pt idx="1145">
                  <c:v>38</c:v>
                </c:pt>
                <c:pt idx="1146">
                  <c:v>39</c:v>
                </c:pt>
                <c:pt idx="1147">
                  <c:v>40</c:v>
                </c:pt>
                <c:pt idx="1148">
                  <c:v>32</c:v>
                </c:pt>
                <c:pt idx="1149">
                  <c:v>11.5</c:v>
                </c:pt>
                <c:pt idx="1150">
                  <c:v>10.5</c:v>
                </c:pt>
                <c:pt idx="1151">
                  <c:v>8.5</c:v>
                </c:pt>
                <c:pt idx="1152">
                  <c:v>13.5</c:v>
                </c:pt>
                <c:pt idx="1153">
                  <c:v>19.5</c:v>
                </c:pt>
                <c:pt idx="1154">
                  <c:v>26</c:v>
                </c:pt>
                <c:pt idx="1155">
                  <c:v>49.5</c:v>
                </c:pt>
                <c:pt idx="1156">
                  <c:v>51</c:v>
                </c:pt>
                <c:pt idx="1157">
                  <c:v>43.5</c:v>
                </c:pt>
                <c:pt idx="1158">
                  <c:v>43</c:v>
                </c:pt>
                <c:pt idx="1159">
                  <c:v>40</c:v>
                </c:pt>
                <c:pt idx="1160">
                  <c:v>43</c:v>
                </c:pt>
                <c:pt idx="1161">
                  <c:v>31</c:v>
                </c:pt>
                <c:pt idx="1162">
                  <c:v>22.5</c:v>
                </c:pt>
                <c:pt idx="1163">
                  <c:v>25.5</c:v>
                </c:pt>
                <c:pt idx="1164">
                  <c:v>23</c:v>
                </c:pt>
                <c:pt idx="1165">
                  <c:v>24.5</c:v>
                </c:pt>
                <c:pt idx="1166">
                  <c:v>20.5</c:v>
                </c:pt>
                <c:pt idx="1167">
                  <c:v>11.5</c:v>
                </c:pt>
                <c:pt idx="1168">
                  <c:v>9.5</c:v>
                </c:pt>
                <c:pt idx="1169">
                  <c:v>24</c:v>
                </c:pt>
                <c:pt idx="1170">
                  <c:v>44</c:v>
                </c:pt>
                <c:pt idx="1171">
                  <c:v>55</c:v>
                </c:pt>
                <c:pt idx="1172">
                  <c:v>55</c:v>
                </c:pt>
                <c:pt idx="1173">
                  <c:v>48.5</c:v>
                </c:pt>
                <c:pt idx="1174">
                  <c:v>33.5</c:v>
                </c:pt>
                <c:pt idx="1175">
                  <c:v>28</c:v>
                </c:pt>
                <c:pt idx="1176">
                  <c:v>24.5</c:v>
                </c:pt>
                <c:pt idx="1177">
                  <c:v>36</c:v>
                </c:pt>
                <c:pt idx="1178">
                  <c:v>39</c:v>
                </c:pt>
                <c:pt idx="1179">
                  <c:v>29.5</c:v>
                </c:pt>
                <c:pt idx="1180">
                  <c:v>17.5</c:v>
                </c:pt>
                <c:pt idx="1181">
                  <c:v>22</c:v>
                </c:pt>
                <c:pt idx="1182">
                  <c:v>24</c:v>
                </c:pt>
                <c:pt idx="1183">
                  <c:v>25.5</c:v>
                </c:pt>
                <c:pt idx="1184">
                  <c:v>29.5</c:v>
                </c:pt>
                <c:pt idx="1185">
                  <c:v>42</c:v>
                </c:pt>
                <c:pt idx="1186">
                  <c:v>43</c:v>
                </c:pt>
                <c:pt idx="1187">
                  <c:v>33</c:v>
                </c:pt>
                <c:pt idx="1188">
                  <c:v>27</c:v>
                </c:pt>
                <c:pt idx="1189">
                  <c:v>27.5</c:v>
                </c:pt>
                <c:pt idx="1190">
                  <c:v>40.5</c:v>
                </c:pt>
                <c:pt idx="1191">
                  <c:v>46</c:v>
                </c:pt>
                <c:pt idx="1192">
                  <c:v>38</c:v>
                </c:pt>
                <c:pt idx="1193">
                  <c:v>53</c:v>
                </c:pt>
                <c:pt idx="1194">
                  <c:v>55</c:v>
                </c:pt>
                <c:pt idx="1195">
                  <c:v>36</c:v>
                </c:pt>
                <c:pt idx="1196">
                  <c:v>32</c:v>
                </c:pt>
                <c:pt idx="1197">
                  <c:v>40</c:v>
                </c:pt>
                <c:pt idx="1198">
                  <c:v>52.5</c:v>
                </c:pt>
                <c:pt idx="1199">
                  <c:v>41</c:v>
                </c:pt>
                <c:pt idx="1200">
                  <c:v>32.5</c:v>
                </c:pt>
                <c:pt idx="1201">
                  <c:v>43</c:v>
                </c:pt>
                <c:pt idx="1202">
                  <c:v>45</c:v>
                </c:pt>
                <c:pt idx="1203">
                  <c:v>47.5</c:v>
                </c:pt>
                <c:pt idx="1204">
                  <c:v>40</c:v>
                </c:pt>
                <c:pt idx="1205">
                  <c:v>34.5</c:v>
                </c:pt>
                <c:pt idx="1206">
                  <c:v>32</c:v>
                </c:pt>
                <c:pt idx="1207">
                  <c:v>19</c:v>
                </c:pt>
                <c:pt idx="1208">
                  <c:v>22.5</c:v>
                </c:pt>
                <c:pt idx="1209">
                  <c:v>31</c:v>
                </c:pt>
                <c:pt idx="1210">
                  <c:v>26</c:v>
                </c:pt>
                <c:pt idx="1211">
                  <c:v>21.5</c:v>
                </c:pt>
                <c:pt idx="1212">
                  <c:v>27.5</c:v>
                </c:pt>
                <c:pt idx="1213">
                  <c:v>34.5</c:v>
                </c:pt>
                <c:pt idx="1214">
                  <c:v>25</c:v>
                </c:pt>
                <c:pt idx="1215">
                  <c:v>19.5</c:v>
                </c:pt>
                <c:pt idx="1216">
                  <c:v>22</c:v>
                </c:pt>
                <c:pt idx="1217">
                  <c:v>17</c:v>
                </c:pt>
                <c:pt idx="1218">
                  <c:v>20</c:v>
                </c:pt>
                <c:pt idx="1219">
                  <c:v>44.5</c:v>
                </c:pt>
                <c:pt idx="1220">
                  <c:v>47</c:v>
                </c:pt>
                <c:pt idx="1221">
                  <c:v>28.5</c:v>
                </c:pt>
                <c:pt idx="1222">
                  <c:v>29.5</c:v>
                </c:pt>
                <c:pt idx="1223">
                  <c:v>26</c:v>
                </c:pt>
                <c:pt idx="1224">
                  <c:v>33</c:v>
                </c:pt>
                <c:pt idx="1225">
                  <c:v>54</c:v>
                </c:pt>
                <c:pt idx="1226">
                  <c:v>70.5</c:v>
                </c:pt>
                <c:pt idx="1227">
                  <c:v>62.5</c:v>
                </c:pt>
                <c:pt idx="1228">
                  <c:v>41</c:v>
                </c:pt>
                <c:pt idx="1229">
                  <c:v>29.5</c:v>
                </c:pt>
                <c:pt idx="1230">
                  <c:v>33.5</c:v>
                </c:pt>
                <c:pt idx="1231">
                  <c:v>30</c:v>
                </c:pt>
                <c:pt idx="1232">
                  <c:v>45.5</c:v>
                </c:pt>
                <c:pt idx="1233">
                  <c:v>62.5</c:v>
                </c:pt>
                <c:pt idx="1234">
                  <c:v>59.5</c:v>
                </c:pt>
                <c:pt idx="1235">
                  <c:v>53.5</c:v>
                </c:pt>
                <c:pt idx="1236">
                  <c:v>55.5</c:v>
                </c:pt>
                <c:pt idx="1237">
                  <c:v>46</c:v>
                </c:pt>
                <c:pt idx="1238">
                  <c:v>37.5</c:v>
                </c:pt>
                <c:pt idx="1239">
                  <c:v>39.5</c:v>
                </c:pt>
                <c:pt idx="1240">
                  <c:v>31.5</c:v>
                </c:pt>
                <c:pt idx="1241">
                  <c:v>18</c:v>
                </c:pt>
                <c:pt idx="1242">
                  <c:v>36.5</c:v>
                </c:pt>
                <c:pt idx="1243">
                  <c:v>36.5</c:v>
                </c:pt>
                <c:pt idx="1244">
                  <c:v>24.5</c:v>
                </c:pt>
                <c:pt idx="1245">
                  <c:v>28</c:v>
                </c:pt>
                <c:pt idx="1246">
                  <c:v>30</c:v>
                </c:pt>
                <c:pt idx="1247">
                  <c:v>16</c:v>
                </c:pt>
                <c:pt idx="1248">
                  <c:v>20.5</c:v>
                </c:pt>
                <c:pt idx="1249">
                  <c:v>31.5</c:v>
                </c:pt>
                <c:pt idx="1250">
                  <c:v>45</c:v>
                </c:pt>
                <c:pt idx="1251">
                  <c:v>46</c:v>
                </c:pt>
                <c:pt idx="1252">
                  <c:v>37</c:v>
                </c:pt>
                <c:pt idx="1253">
                  <c:v>26</c:v>
                </c:pt>
                <c:pt idx="1254">
                  <c:v>43.5</c:v>
                </c:pt>
                <c:pt idx="1255">
                  <c:v>36</c:v>
                </c:pt>
                <c:pt idx="1256">
                  <c:v>15</c:v>
                </c:pt>
                <c:pt idx="1257">
                  <c:v>35.5</c:v>
                </c:pt>
                <c:pt idx="1258">
                  <c:v>56</c:v>
                </c:pt>
                <c:pt idx="1259">
                  <c:v>61</c:v>
                </c:pt>
                <c:pt idx="1260">
                  <c:v>54</c:v>
                </c:pt>
                <c:pt idx="1261">
                  <c:v>44.5</c:v>
                </c:pt>
                <c:pt idx="1262">
                  <c:v>34</c:v>
                </c:pt>
                <c:pt idx="1263">
                  <c:v>24.5</c:v>
                </c:pt>
                <c:pt idx="1264">
                  <c:v>36.5</c:v>
                </c:pt>
                <c:pt idx="1265">
                  <c:v>39</c:v>
                </c:pt>
                <c:pt idx="1266">
                  <c:v>28.5</c:v>
                </c:pt>
                <c:pt idx="1267">
                  <c:v>29.5</c:v>
                </c:pt>
                <c:pt idx="1268">
                  <c:v>30.5</c:v>
                </c:pt>
                <c:pt idx="1269">
                  <c:v>35</c:v>
                </c:pt>
                <c:pt idx="1270">
                  <c:v>23</c:v>
                </c:pt>
                <c:pt idx="1271">
                  <c:v>43</c:v>
                </c:pt>
                <c:pt idx="1272">
                  <c:v>62</c:v>
                </c:pt>
                <c:pt idx="1273">
                  <c:v>38.5</c:v>
                </c:pt>
                <c:pt idx="1274">
                  <c:v>20.5</c:v>
                </c:pt>
                <c:pt idx="1275">
                  <c:v>35</c:v>
                </c:pt>
                <c:pt idx="1276">
                  <c:v>28</c:v>
                </c:pt>
                <c:pt idx="1277">
                  <c:v>27.5</c:v>
                </c:pt>
                <c:pt idx="1278">
                  <c:v>30.5</c:v>
                </c:pt>
                <c:pt idx="1279">
                  <c:v>39</c:v>
                </c:pt>
                <c:pt idx="1280">
                  <c:v>37.5</c:v>
                </c:pt>
                <c:pt idx="1281">
                  <c:v>38.5</c:v>
                </c:pt>
                <c:pt idx="1282">
                  <c:v>49</c:v>
                </c:pt>
                <c:pt idx="1283">
                  <c:v>45</c:v>
                </c:pt>
                <c:pt idx="1284">
                  <c:v>52.5</c:v>
                </c:pt>
                <c:pt idx="1285">
                  <c:v>62.5</c:v>
                </c:pt>
                <c:pt idx="1286">
                  <c:v>55.5</c:v>
                </c:pt>
                <c:pt idx="1287">
                  <c:v>41</c:v>
                </c:pt>
                <c:pt idx="1288">
                  <c:v>34</c:v>
                </c:pt>
                <c:pt idx="1289">
                  <c:v>23.5</c:v>
                </c:pt>
                <c:pt idx="1290">
                  <c:v>16</c:v>
                </c:pt>
                <c:pt idx="1291">
                  <c:v>21</c:v>
                </c:pt>
                <c:pt idx="1292">
                  <c:v>23.5</c:v>
                </c:pt>
                <c:pt idx="1293">
                  <c:v>28.5</c:v>
                </c:pt>
                <c:pt idx="1294">
                  <c:v>23</c:v>
                </c:pt>
                <c:pt idx="1295">
                  <c:v>30</c:v>
                </c:pt>
                <c:pt idx="1296">
                  <c:v>36.5</c:v>
                </c:pt>
                <c:pt idx="1297">
                  <c:v>34.5</c:v>
                </c:pt>
                <c:pt idx="1298">
                  <c:v>27.5</c:v>
                </c:pt>
                <c:pt idx="1299">
                  <c:v>29.5</c:v>
                </c:pt>
                <c:pt idx="1300">
                  <c:v>48</c:v>
                </c:pt>
                <c:pt idx="1301">
                  <c:v>55</c:v>
                </c:pt>
                <c:pt idx="1302">
                  <c:v>32</c:v>
                </c:pt>
                <c:pt idx="1303">
                  <c:v>42</c:v>
                </c:pt>
                <c:pt idx="1304">
                  <c:v>40.5</c:v>
                </c:pt>
                <c:pt idx="1305">
                  <c:v>45.5</c:v>
                </c:pt>
                <c:pt idx="1306">
                  <c:v>39.5</c:v>
                </c:pt>
                <c:pt idx="1307">
                  <c:v>36.5</c:v>
                </c:pt>
                <c:pt idx="1308">
                  <c:v>39.5</c:v>
                </c:pt>
                <c:pt idx="1309">
                  <c:v>37</c:v>
                </c:pt>
                <c:pt idx="1310">
                  <c:v>37</c:v>
                </c:pt>
                <c:pt idx="1311">
                  <c:v>36.5</c:v>
                </c:pt>
                <c:pt idx="1312">
                  <c:v>38</c:v>
                </c:pt>
                <c:pt idx="1313">
                  <c:v>38</c:v>
                </c:pt>
                <c:pt idx="1314">
                  <c:v>27</c:v>
                </c:pt>
                <c:pt idx="1315">
                  <c:v>9.5</c:v>
                </c:pt>
                <c:pt idx="1316">
                  <c:v>19.5</c:v>
                </c:pt>
                <c:pt idx="1317">
                  <c:v>34.5</c:v>
                </c:pt>
                <c:pt idx="1318">
                  <c:v>31.5</c:v>
                </c:pt>
                <c:pt idx="1319">
                  <c:v>49.5</c:v>
                </c:pt>
                <c:pt idx="1320">
                  <c:v>65.5</c:v>
                </c:pt>
                <c:pt idx="1321">
                  <c:v>56.5</c:v>
                </c:pt>
                <c:pt idx="1322">
                  <c:v>28.5</c:v>
                </c:pt>
                <c:pt idx="1323">
                  <c:v>18.5</c:v>
                </c:pt>
                <c:pt idx="1324">
                  <c:v>29.5</c:v>
                </c:pt>
                <c:pt idx="1325">
                  <c:v>38.5</c:v>
                </c:pt>
                <c:pt idx="1326">
                  <c:v>35.5</c:v>
                </c:pt>
                <c:pt idx="1327">
                  <c:v>19.5</c:v>
                </c:pt>
                <c:pt idx="1328">
                  <c:v>17</c:v>
                </c:pt>
                <c:pt idx="1329">
                  <c:v>28</c:v>
                </c:pt>
                <c:pt idx="1330">
                  <c:v>28.5</c:v>
                </c:pt>
                <c:pt idx="1331">
                  <c:v>46</c:v>
                </c:pt>
                <c:pt idx="1332">
                  <c:v>53</c:v>
                </c:pt>
                <c:pt idx="1333">
                  <c:v>50</c:v>
                </c:pt>
                <c:pt idx="1334">
                  <c:v>47</c:v>
                </c:pt>
                <c:pt idx="1335">
                  <c:v>39.5</c:v>
                </c:pt>
                <c:pt idx="1336">
                  <c:v>27.5</c:v>
                </c:pt>
                <c:pt idx="1337">
                  <c:v>25.5</c:v>
                </c:pt>
                <c:pt idx="1338">
                  <c:v>25</c:v>
                </c:pt>
                <c:pt idx="1339">
                  <c:v>32.5</c:v>
                </c:pt>
                <c:pt idx="1340">
                  <c:v>35.5</c:v>
                </c:pt>
                <c:pt idx="1341">
                  <c:v>58.5</c:v>
                </c:pt>
                <c:pt idx="1342">
                  <c:v>61.5</c:v>
                </c:pt>
                <c:pt idx="1343">
                  <c:v>39.5</c:v>
                </c:pt>
                <c:pt idx="1344">
                  <c:v>64</c:v>
                </c:pt>
                <c:pt idx="1345">
                  <c:v>98</c:v>
                </c:pt>
                <c:pt idx="1346">
                  <c:v>81</c:v>
                </c:pt>
                <c:pt idx="1347">
                  <c:v>39</c:v>
                </c:pt>
                <c:pt idx="1348">
                  <c:v>29</c:v>
                </c:pt>
                <c:pt idx="1349">
                  <c:v>40.5</c:v>
                </c:pt>
                <c:pt idx="1350">
                  <c:v>59</c:v>
                </c:pt>
                <c:pt idx="1351">
                  <c:v>74</c:v>
                </c:pt>
                <c:pt idx="1352">
                  <c:v>77.5</c:v>
                </c:pt>
                <c:pt idx="1353">
                  <c:v>65.5</c:v>
                </c:pt>
                <c:pt idx="1354">
                  <c:v>41</c:v>
                </c:pt>
                <c:pt idx="1355">
                  <c:v>31.5</c:v>
                </c:pt>
                <c:pt idx="1356">
                  <c:v>37</c:v>
                </c:pt>
                <c:pt idx="1357">
                  <c:v>32.5</c:v>
                </c:pt>
                <c:pt idx="1358">
                  <c:v>15</c:v>
                </c:pt>
                <c:pt idx="1359">
                  <c:v>19</c:v>
                </c:pt>
                <c:pt idx="1360">
                  <c:v>18</c:v>
                </c:pt>
                <c:pt idx="1361">
                  <c:v>10</c:v>
                </c:pt>
                <c:pt idx="1362">
                  <c:v>20.5</c:v>
                </c:pt>
                <c:pt idx="1363">
                  <c:v>5.5</c:v>
                </c:pt>
                <c:pt idx="1364">
                  <c:v>18.5</c:v>
                </c:pt>
                <c:pt idx="1365">
                  <c:v>20</c:v>
                </c:pt>
                <c:pt idx="1366">
                  <c:v>26</c:v>
                </c:pt>
                <c:pt idx="1367">
                  <c:v>47</c:v>
                </c:pt>
                <c:pt idx="1368">
                  <c:v>44</c:v>
                </c:pt>
                <c:pt idx="1369">
                  <c:v>25.5</c:v>
                </c:pt>
                <c:pt idx="1370">
                  <c:v>14</c:v>
                </c:pt>
                <c:pt idx="1371">
                  <c:v>17</c:v>
                </c:pt>
                <c:pt idx="1372">
                  <c:v>10.5</c:v>
                </c:pt>
                <c:pt idx="1373">
                  <c:v>21.5</c:v>
                </c:pt>
                <c:pt idx="1374">
                  <c:v>41</c:v>
                </c:pt>
                <c:pt idx="1375">
                  <c:v>51</c:v>
                </c:pt>
                <c:pt idx="1376">
                  <c:v>48.5</c:v>
                </c:pt>
                <c:pt idx="1377">
                  <c:v>44</c:v>
                </c:pt>
                <c:pt idx="1378">
                  <c:v>40.5</c:v>
                </c:pt>
                <c:pt idx="1379">
                  <c:v>29.5</c:v>
                </c:pt>
                <c:pt idx="1380">
                  <c:v>26.5</c:v>
                </c:pt>
                <c:pt idx="1381">
                  <c:v>27.5</c:v>
                </c:pt>
                <c:pt idx="1382">
                  <c:v>29</c:v>
                </c:pt>
                <c:pt idx="1383">
                  <c:v>36</c:v>
                </c:pt>
                <c:pt idx="1384">
                  <c:v>24</c:v>
                </c:pt>
                <c:pt idx="1385">
                  <c:v>32.5</c:v>
                </c:pt>
                <c:pt idx="1386">
                  <c:v>47.5</c:v>
                </c:pt>
                <c:pt idx="1387">
                  <c:v>62.5</c:v>
                </c:pt>
                <c:pt idx="1388">
                  <c:v>74.5</c:v>
                </c:pt>
                <c:pt idx="1389">
                  <c:v>80</c:v>
                </c:pt>
                <c:pt idx="1390">
                  <c:v>74</c:v>
                </c:pt>
                <c:pt idx="1391">
                  <c:v>64.5</c:v>
                </c:pt>
                <c:pt idx="1392">
                  <c:v>54</c:v>
                </c:pt>
                <c:pt idx="1393">
                  <c:v>38</c:v>
                </c:pt>
                <c:pt idx="1394">
                  <c:v>28.5</c:v>
                </c:pt>
                <c:pt idx="1395">
                  <c:v>38.5</c:v>
                </c:pt>
                <c:pt idx="1396">
                  <c:v>39.5</c:v>
                </c:pt>
                <c:pt idx="1397">
                  <c:v>26.5</c:v>
                </c:pt>
                <c:pt idx="1398">
                  <c:v>37</c:v>
                </c:pt>
                <c:pt idx="1399">
                  <c:v>36</c:v>
                </c:pt>
                <c:pt idx="1400">
                  <c:v>39</c:v>
                </c:pt>
                <c:pt idx="1401">
                  <c:v>52</c:v>
                </c:pt>
                <c:pt idx="1402">
                  <c:v>57</c:v>
                </c:pt>
                <c:pt idx="1403">
                  <c:v>47.5</c:v>
                </c:pt>
                <c:pt idx="1404">
                  <c:v>42</c:v>
                </c:pt>
                <c:pt idx="1405">
                  <c:v>47.5</c:v>
                </c:pt>
                <c:pt idx="1406">
                  <c:v>49</c:v>
                </c:pt>
                <c:pt idx="1407">
                  <c:v>45</c:v>
                </c:pt>
                <c:pt idx="1408">
                  <c:v>40</c:v>
                </c:pt>
                <c:pt idx="1409">
                  <c:v>50.5</c:v>
                </c:pt>
                <c:pt idx="1410">
                  <c:v>60</c:v>
                </c:pt>
                <c:pt idx="1411">
                  <c:v>59</c:v>
                </c:pt>
                <c:pt idx="1412">
                  <c:v>52.5</c:v>
                </c:pt>
                <c:pt idx="1413">
                  <c:v>45</c:v>
                </c:pt>
                <c:pt idx="1414">
                  <c:v>39.5</c:v>
                </c:pt>
                <c:pt idx="1415">
                  <c:v>36.5</c:v>
                </c:pt>
                <c:pt idx="1416">
                  <c:v>47</c:v>
                </c:pt>
                <c:pt idx="1417">
                  <c:v>56</c:v>
                </c:pt>
                <c:pt idx="1418">
                  <c:v>55.5</c:v>
                </c:pt>
                <c:pt idx="1419">
                  <c:v>35.5</c:v>
                </c:pt>
                <c:pt idx="1420">
                  <c:v>27.5</c:v>
                </c:pt>
                <c:pt idx="1421">
                  <c:v>30.5</c:v>
                </c:pt>
                <c:pt idx="1422">
                  <c:v>29.5</c:v>
                </c:pt>
                <c:pt idx="1423">
                  <c:v>28.5</c:v>
                </c:pt>
                <c:pt idx="1424">
                  <c:v>34</c:v>
                </c:pt>
                <c:pt idx="1425">
                  <c:v>45</c:v>
                </c:pt>
                <c:pt idx="1426">
                  <c:v>47</c:v>
                </c:pt>
                <c:pt idx="1427">
                  <c:v>35.5</c:v>
                </c:pt>
                <c:pt idx="1428">
                  <c:v>34.5</c:v>
                </c:pt>
                <c:pt idx="1429">
                  <c:v>27.5</c:v>
                </c:pt>
                <c:pt idx="1430">
                  <c:v>23.5</c:v>
                </c:pt>
                <c:pt idx="1431">
                  <c:v>24.5</c:v>
                </c:pt>
                <c:pt idx="1432">
                  <c:v>9</c:v>
                </c:pt>
                <c:pt idx="1433">
                  <c:v>27.5</c:v>
                </c:pt>
                <c:pt idx="1434">
                  <c:v>29</c:v>
                </c:pt>
                <c:pt idx="1435">
                  <c:v>29.5</c:v>
                </c:pt>
                <c:pt idx="1436">
                  <c:v>40.5</c:v>
                </c:pt>
                <c:pt idx="1437">
                  <c:v>53</c:v>
                </c:pt>
                <c:pt idx="1438">
                  <c:v>41</c:v>
                </c:pt>
                <c:pt idx="1439">
                  <c:v>25.5</c:v>
                </c:pt>
                <c:pt idx="1440">
                  <c:v>34</c:v>
                </c:pt>
                <c:pt idx="1441">
                  <c:v>50.5</c:v>
                </c:pt>
                <c:pt idx="1442">
                  <c:v>56.5</c:v>
                </c:pt>
                <c:pt idx="1443">
                  <c:v>54.5</c:v>
                </c:pt>
                <c:pt idx="1444">
                  <c:v>49</c:v>
                </c:pt>
                <c:pt idx="1445">
                  <c:v>28</c:v>
                </c:pt>
                <c:pt idx="1446">
                  <c:v>34.5</c:v>
                </c:pt>
                <c:pt idx="1447">
                  <c:v>27</c:v>
                </c:pt>
                <c:pt idx="1448">
                  <c:v>36</c:v>
                </c:pt>
                <c:pt idx="1449">
                  <c:v>48</c:v>
                </c:pt>
                <c:pt idx="1450">
                  <c:v>44.5</c:v>
                </c:pt>
                <c:pt idx="1451">
                  <c:v>41.5</c:v>
                </c:pt>
                <c:pt idx="1452">
                  <c:v>49.5</c:v>
                </c:pt>
                <c:pt idx="1453">
                  <c:v>61.5</c:v>
                </c:pt>
                <c:pt idx="1454">
                  <c:v>47</c:v>
                </c:pt>
                <c:pt idx="1455">
                  <c:v>22</c:v>
                </c:pt>
                <c:pt idx="1456">
                  <c:v>28.5</c:v>
                </c:pt>
                <c:pt idx="1457">
                  <c:v>21.5</c:v>
                </c:pt>
                <c:pt idx="1458">
                  <c:v>22.5</c:v>
                </c:pt>
                <c:pt idx="1459">
                  <c:v>48.5</c:v>
                </c:pt>
                <c:pt idx="1460">
                  <c:v>54</c:v>
                </c:pt>
                <c:pt idx="1461">
                  <c:v>39.5</c:v>
                </c:pt>
                <c:pt idx="1462">
                  <c:v>43</c:v>
                </c:pt>
                <c:pt idx="1463">
                  <c:v>45.5</c:v>
                </c:pt>
                <c:pt idx="1464">
                  <c:v>33.5</c:v>
                </c:pt>
                <c:pt idx="1465">
                  <c:v>9.5</c:v>
                </c:pt>
                <c:pt idx="1466">
                  <c:v>16</c:v>
                </c:pt>
                <c:pt idx="1467">
                  <c:v>23</c:v>
                </c:pt>
                <c:pt idx="1468">
                  <c:v>20.5</c:v>
                </c:pt>
                <c:pt idx="1469">
                  <c:v>22</c:v>
                </c:pt>
                <c:pt idx="1470">
                  <c:v>29.5</c:v>
                </c:pt>
                <c:pt idx="1471">
                  <c:v>28</c:v>
                </c:pt>
                <c:pt idx="1472">
                  <c:v>45.5</c:v>
                </c:pt>
                <c:pt idx="1473">
                  <c:v>44.5</c:v>
                </c:pt>
                <c:pt idx="1474">
                  <c:v>32.5</c:v>
                </c:pt>
                <c:pt idx="1475">
                  <c:v>40</c:v>
                </c:pt>
                <c:pt idx="1476">
                  <c:v>46.5</c:v>
                </c:pt>
                <c:pt idx="1477">
                  <c:v>30</c:v>
                </c:pt>
                <c:pt idx="1478">
                  <c:v>24.5</c:v>
                </c:pt>
                <c:pt idx="1479">
                  <c:v>37</c:v>
                </c:pt>
                <c:pt idx="1480">
                  <c:v>55.5</c:v>
                </c:pt>
                <c:pt idx="1481">
                  <c:v>53</c:v>
                </c:pt>
                <c:pt idx="1482">
                  <c:v>42</c:v>
                </c:pt>
                <c:pt idx="1483">
                  <c:v>34.5</c:v>
                </c:pt>
                <c:pt idx="1484">
                  <c:v>27.5</c:v>
                </c:pt>
                <c:pt idx="1485">
                  <c:v>51</c:v>
                </c:pt>
                <c:pt idx="1486">
                  <c:v>46</c:v>
                </c:pt>
                <c:pt idx="1487">
                  <c:v>70</c:v>
                </c:pt>
                <c:pt idx="1488">
                  <c:v>57.5</c:v>
                </c:pt>
                <c:pt idx="1489">
                  <c:v>22.5</c:v>
                </c:pt>
                <c:pt idx="1490">
                  <c:v>18.5</c:v>
                </c:pt>
                <c:pt idx="1491">
                  <c:v>39</c:v>
                </c:pt>
                <c:pt idx="1492">
                  <c:v>45.5</c:v>
                </c:pt>
                <c:pt idx="1493">
                  <c:v>36</c:v>
                </c:pt>
                <c:pt idx="1494">
                  <c:v>43</c:v>
                </c:pt>
                <c:pt idx="1495">
                  <c:v>43.5</c:v>
                </c:pt>
                <c:pt idx="1496">
                  <c:v>48.5</c:v>
                </c:pt>
                <c:pt idx="1497">
                  <c:v>58.5</c:v>
                </c:pt>
                <c:pt idx="1498">
                  <c:v>55.5</c:v>
                </c:pt>
                <c:pt idx="1499">
                  <c:v>52</c:v>
                </c:pt>
                <c:pt idx="1500">
                  <c:v>52</c:v>
                </c:pt>
                <c:pt idx="1501">
                  <c:v>43</c:v>
                </c:pt>
                <c:pt idx="1502">
                  <c:v>25</c:v>
                </c:pt>
                <c:pt idx="1503">
                  <c:v>37</c:v>
                </c:pt>
                <c:pt idx="1504">
                  <c:v>45</c:v>
                </c:pt>
                <c:pt idx="1505">
                  <c:v>36.5</c:v>
                </c:pt>
                <c:pt idx="1506">
                  <c:v>30</c:v>
                </c:pt>
                <c:pt idx="1507">
                  <c:v>25.5</c:v>
                </c:pt>
                <c:pt idx="1508">
                  <c:v>26.5</c:v>
                </c:pt>
                <c:pt idx="1509">
                  <c:v>20.5</c:v>
                </c:pt>
                <c:pt idx="1510">
                  <c:v>37.5</c:v>
                </c:pt>
                <c:pt idx="1511">
                  <c:v>62.5</c:v>
                </c:pt>
                <c:pt idx="1512">
                  <c:v>53</c:v>
                </c:pt>
                <c:pt idx="1513">
                  <c:v>37</c:v>
                </c:pt>
                <c:pt idx="1514">
                  <c:v>50</c:v>
                </c:pt>
                <c:pt idx="1515">
                  <c:v>69.5</c:v>
                </c:pt>
                <c:pt idx="1516">
                  <c:v>64</c:v>
                </c:pt>
                <c:pt idx="1517">
                  <c:v>28.5</c:v>
                </c:pt>
                <c:pt idx="1518">
                  <c:v>29.5</c:v>
                </c:pt>
                <c:pt idx="1519">
                  <c:v>59</c:v>
                </c:pt>
                <c:pt idx="1520">
                  <c:v>57</c:v>
                </c:pt>
                <c:pt idx="1521">
                  <c:v>45.5</c:v>
                </c:pt>
                <c:pt idx="1522">
                  <c:v>36</c:v>
                </c:pt>
                <c:pt idx="1523">
                  <c:v>26</c:v>
                </c:pt>
                <c:pt idx="1524">
                  <c:v>13.5</c:v>
                </c:pt>
                <c:pt idx="1525">
                  <c:v>26.5</c:v>
                </c:pt>
                <c:pt idx="1526">
                  <c:v>52.5</c:v>
                </c:pt>
                <c:pt idx="1527">
                  <c:v>61</c:v>
                </c:pt>
                <c:pt idx="1528">
                  <c:v>62.5</c:v>
                </c:pt>
                <c:pt idx="1529">
                  <c:v>65</c:v>
                </c:pt>
                <c:pt idx="1530">
                  <c:v>74.5</c:v>
                </c:pt>
                <c:pt idx="1531">
                  <c:v>82</c:v>
                </c:pt>
                <c:pt idx="1532">
                  <c:v>49.5</c:v>
                </c:pt>
                <c:pt idx="1533">
                  <c:v>21.5</c:v>
                </c:pt>
                <c:pt idx="1534">
                  <c:v>70</c:v>
                </c:pt>
                <c:pt idx="1535">
                  <c:v>74</c:v>
                </c:pt>
                <c:pt idx="1536">
                  <c:v>51.5</c:v>
                </c:pt>
                <c:pt idx="1537">
                  <c:v>29.5</c:v>
                </c:pt>
                <c:pt idx="1538">
                  <c:v>25.5</c:v>
                </c:pt>
                <c:pt idx="1539">
                  <c:v>27.5</c:v>
                </c:pt>
                <c:pt idx="1540">
                  <c:v>16.5</c:v>
                </c:pt>
                <c:pt idx="1541">
                  <c:v>19</c:v>
                </c:pt>
                <c:pt idx="1542">
                  <c:v>42.5</c:v>
                </c:pt>
                <c:pt idx="1543">
                  <c:v>44</c:v>
                </c:pt>
                <c:pt idx="1544">
                  <c:v>57.5</c:v>
                </c:pt>
                <c:pt idx="1545">
                  <c:v>54</c:v>
                </c:pt>
                <c:pt idx="1546">
                  <c:v>40.5</c:v>
                </c:pt>
                <c:pt idx="1547">
                  <c:v>55</c:v>
                </c:pt>
                <c:pt idx="1548">
                  <c:v>94</c:v>
                </c:pt>
                <c:pt idx="1549">
                  <c:v>87</c:v>
                </c:pt>
                <c:pt idx="1550">
                  <c:v>62.5</c:v>
                </c:pt>
                <c:pt idx="1551">
                  <c:v>53.5</c:v>
                </c:pt>
                <c:pt idx="1552">
                  <c:v>62</c:v>
                </c:pt>
                <c:pt idx="1553">
                  <c:v>67</c:v>
                </c:pt>
                <c:pt idx="1554">
                  <c:v>59</c:v>
                </c:pt>
                <c:pt idx="1555">
                  <c:v>56.5</c:v>
                </c:pt>
                <c:pt idx="1556">
                  <c:v>50</c:v>
                </c:pt>
                <c:pt idx="1557">
                  <c:v>38.5</c:v>
                </c:pt>
                <c:pt idx="1558">
                  <c:v>34</c:v>
                </c:pt>
                <c:pt idx="1559">
                  <c:v>43</c:v>
                </c:pt>
                <c:pt idx="1560">
                  <c:v>40</c:v>
                </c:pt>
                <c:pt idx="1561">
                  <c:v>25.5</c:v>
                </c:pt>
                <c:pt idx="1562">
                  <c:v>30.5</c:v>
                </c:pt>
                <c:pt idx="1563">
                  <c:v>52.5</c:v>
                </c:pt>
                <c:pt idx="1564">
                  <c:v>67</c:v>
                </c:pt>
                <c:pt idx="1565">
                  <c:v>50.5</c:v>
                </c:pt>
                <c:pt idx="1566">
                  <c:v>21.5</c:v>
                </c:pt>
                <c:pt idx="1567">
                  <c:v>26</c:v>
                </c:pt>
                <c:pt idx="1568">
                  <c:v>35</c:v>
                </c:pt>
                <c:pt idx="1569">
                  <c:v>53.5</c:v>
                </c:pt>
                <c:pt idx="1570">
                  <c:v>45.5</c:v>
                </c:pt>
                <c:pt idx="1571">
                  <c:v>45</c:v>
                </c:pt>
                <c:pt idx="1572">
                  <c:v>45.5</c:v>
                </c:pt>
                <c:pt idx="1573">
                  <c:v>35.5</c:v>
                </c:pt>
                <c:pt idx="1574">
                  <c:v>32</c:v>
                </c:pt>
                <c:pt idx="1575">
                  <c:v>32</c:v>
                </c:pt>
                <c:pt idx="1576">
                  <c:v>38.5</c:v>
                </c:pt>
                <c:pt idx="1577">
                  <c:v>51.5</c:v>
                </c:pt>
                <c:pt idx="1578">
                  <c:v>76</c:v>
                </c:pt>
                <c:pt idx="1579">
                  <c:v>94</c:v>
                </c:pt>
                <c:pt idx="1580">
                  <c:v>89</c:v>
                </c:pt>
                <c:pt idx="1581">
                  <c:v>62.5</c:v>
                </c:pt>
                <c:pt idx="1582">
                  <c:v>34</c:v>
                </c:pt>
                <c:pt idx="1583">
                  <c:v>39.5</c:v>
                </c:pt>
                <c:pt idx="1584">
                  <c:v>53.5</c:v>
                </c:pt>
                <c:pt idx="1585">
                  <c:v>60.5</c:v>
                </c:pt>
                <c:pt idx="1586">
                  <c:v>59</c:v>
                </c:pt>
                <c:pt idx="1587">
                  <c:v>55.5</c:v>
                </c:pt>
                <c:pt idx="1588">
                  <c:v>35.5</c:v>
                </c:pt>
                <c:pt idx="1589">
                  <c:v>36.5</c:v>
                </c:pt>
                <c:pt idx="1590">
                  <c:v>49</c:v>
                </c:pt>
                <c:pt idx="1591">
                  <c:v>55.5</c:v>
                </c:pt>
                <c:pt idx="1592">
                  <c:v>42.5</c:v>
                </c:pt>
                <c:pt idx="1593">
                  <c:v>20.5</c:v>
                </c:pt>
                <c:pt idx="1594">
                  <c:v>51</c:v>
                </c:pt>
                <c:pt idx="1595">
                  <c:v>72.5</c:v>
                </c:pt>
                <c:pt idx="1596">
                  <c:v>59.5</c:v>
                </c:pt>
                <c:pt idx="1597">
                  <c:v>40</c:v>
                </c:pt>
                <c:pt idx="1598">
                  <c:v>37.5</c:v>
                </c:pt>
                <c:pt idx="1599">
                  <c:v>35</c:v>
                </c:pt>
                <c:pt idx="1600">
                  <c:v>27</c:v>
                </c:pt>
                <c:pt idx="1601">
                  <c:v>44</c:v>
                </c:pt>
                <c:pt idx="1602">
                  <c:v>64</c:v>
                </c:pt>
                <c:pt idx="1603">
                  <c:v>65.5</c:v>
                </c:pt>
                <c:pt idx="1604">
                  <c:v>57</c:v>
                </c:pt>
                <c:pt idx="1605">
                  <c:v>59.5</c:v>
                </c:pt>
                <c:pt idx="1606">
                  <c:v>81</c:v>
                </c:pt>
                <c:pt idx="1607">
                  <c:v>102.5</c:v>
                </c:pt>
                <c:pt idx="1608">
                  <c:v>107</c:v>
                </c:pt>
                <c:pt idx="1609">
                  <c:v>82.5</c:v>
                </c:pt>
                <c:pt idx="1610">
                  <c:v>57.5</c:v>
                </c:pt>
                <c:pt idx="1611">
                  <c:v>55</c:v>
                </c:pt>
                <c:pt idx="1612">
                  <c:v>74</c:v>
                </c:pt>
                <c:pt idx="1613">
                  <c:v>67.5</c:v>
                </c:pt>
                <c:pt idx="1614">
                  <c:v>48</c:v>
                </c:pt>
                <c:pt idx="1615">
                  <c:v>54</c:v>
                </c:pt>
                <c:pt idx="1616">
                  <c:v>77</c:v>
                </c:pt>
                <c:pt idx="1617">
                  <c:v>81.5</c:v>
                </c:pt>
                <c:pt idx="1618">
                  <c:v>56</c:v>
                </c:pt>
                <c:pt idx="1619">
                  <c:v>35</c:v>
                </c:pt>
                <c:pt idx="1620">
                  <c:v>19.5</c:v>
                </c:pt>
                <c:pt idx="1621">
                  <c:v>12.5</c:v>
                </c:pt>
                <c:pt idx="1622">
                  <c:v>34.5</c:v>
                </c:pt>
                <c:pt idx="1623">
                  <c:v>70.5</c:v>
                </c:pt>
                <c:pt idx="1624">
                  <c:v>75</c:v>
                </c:pt>
                <c:pt idx="1625">
                  <c:v>49</c:v>
                </c:pt>
                <c:pt idx="1626">
                  <c:v>29</c:v>
                </c:pt>
                <c:pt idx="1627">
                  <c:v>60.5</c:v>
                </c:pt>
                <c:pt idx="1628">
                  <c:v>83.5</c:v>
                </c:pt>
                <c:pt idx="1629">
                  <c:v>67.5</c:v>
                </c:pt>
                <c:pt idx="1630">
                  <c:v>30.5</c:v>
                </c:pt>
                <c:pt idx="1631">
                  <c:v>41</c:v>
                </c:pt>
                <c:pt idx="1632">
                  <c:v>77.5</c:v>
                </c:pt>
                <c:pt idx="1633">
                  <c:v>70</c:v>
                </c:pt>
                <c:pt idx="1634">
                  <c:v>43.5</c:v>
                </c:pt>
                <c:pt idx="1635">
                  <c:v>34.5</c:v>
                </c:pt>
                <c:pt idx="1636">
                  <c:v>35</c:v>
                </c:pt>
                <c:pt idx="1637">
                  <c:v>30</c:v>
                </c:pt>
                <c:pt idx="1638">
                  <c:v>35</c:v>
                </c:pt>
                <c:pt idx="1639">
                  <c:v>42</c:v>
                </c:pt>
                <c:pt idx="1640">
                  <c:v>38.5</c:v>
                </c:pt>
                <c:pt idx="1641">
                  <c:v>34.5</c:v>
                </c:pt>
                <c:pt idx="1642">
                  <c:v>23.5</c:v>
                </c:pt>
                <c:pt idx="1643">
                  <c:v>32</c:v>
                </c:pt>
                <c:pt idx="1644">
                  <c:v>40</c:v>
                </c:pt>
                <c:pt idx="1645">
                  <c:v>51</c:v>
                </c:pt>
                <c:pt idx="1646">
                  <c:v>37</c:v>
                </c:pt>
                <c:pt idx="1647">
                  <c:v>29</c:v>
                </c:pt>
                <c:pt idx="1648">
                  <c:v>36.5</c:v>
                </c:pt>
                <c:pt idx="1649">
                  <c:v>40.5</c:v>
                </c:pt>
                <c:pt idx="1650">
                  <c:v>54.5</c:v>
                </c:pt>
                <c:pt idx="1651">
                  <c:v>59.5</c:v>
                </c:pt>
                <c:pt idx="1652">
                  <c:v>55.5</c:v>
                </c:pt>
                <c:pt idx="1653">
                  <c:v>36.5</c:v>
                </c:pt>
                <c:pt idx="1654">
                  <c:v>24</c:v>
                </c:pt>
                <c:pt idx="1655">
                  <c:v>30.5</c:v>
                </c:pt>
                <c:pt idx="1656">
                  <c:v>31</c:v>
                </c:pt>
                <c:pt idx="1657">
                  <c:v>39.5</c:v>
                </c:pt>
                <c:pt idx="1658">
                  <c:v>44</c:v>
                </c:pt>
                <c:pt idx="1659">
                  <c:v>35</c:v>
                </c:pt>
                <c:pt idx="1660">
                  <c:v>34</c:v>
                </c:pt>
                <c:pt idx="1661">
                  <c:v>50</c:v>
                </c:pt>
                <c:pt idx="1662">
                  <c:v>57.5</c:v>
                </c:pt>
                <c:pt idx="1663">
                  <c:v>49.5</c:v>
                </c:pt>
                <c:pt idx="1664">
                  <c:v>44.5</c:v>
                </c:pt>
                <c:pt idx="1665">
                  <c:v>46.5</c:v>
                </c:pt>
                <c:pt idx="1666">
                  <c:v>47</c:v>
                </c:pt>
                <c:pt idx="1667">
                  <c:v>55.5</c:v>
                </c:pt>
                <c:pt idx="1668">
                  <c:v>41.5</c:v>
                </c:pt>
                <c:pt idx="1669">
                  <c:v>26</c:v>
                </c:pt>
                <c:pt idx="1670">
                  <c:v>50</c:v>
                </c:pt>
                <c:pt idx="1671">
                  <c:v>53</c:v>
                </c:pt>
                <c:pt idx="1672">
                  <c:v>37.5</c:v>
                </c:pt>
                <c:pt idx="1673">
                  <c:v>34</c:v>
                </c:pt>
                <c:pt idx="1674">
                  <c:v>39</c:v>
                </c:pt>
                <c:pt idx="1675">
                  <c:v>25.5</c:v>
                </c:pt>
                <c:pt idx="1676">
                  <c:v>29.5</c:v>
                </c:pt>
                <c:pt idx="1677">
                  <c:v>43.5</c:v>
                </c:pt>
                <c:pt idx="1678">
                  <c:v>65.5</c:v>
                </c:pt>
                <c:pt idx="1679">
                  <c:v>65</c:v>
                </c:pt>
                <c:pt idx="1680">
                  <c:v>49.5</c:v>
                </c:pt>
                <c:pt idx="1681">
                  <c:v>40</c:v>
                </c:pt>
                <c:pt idx="1682">
                  <c:v>39</c:v>
                </c:pt>
                <c:pt idx="1683">
                  <c:v>58.5</c:v>
                </c:pt>
                <c:pt idx="1684">
                  <c:v>79.5</c:v>
                </c:pt>
                <c:pt idx="1685">
                  <c:v>68</c:v>
                </c:pt>
                <c:pt idx="1686">
                  <c:v>51</c:v>
                </c:pt>
                <c:pt idx="1687">
                  <c:v>50</c:v>
                </c:pt>
                <c:pt idx="1688">
                  <c:v>36.5</c:v>
                </c:pt>
                <c:pt idx="1689">
                  <c:v>46.5</c:v>
                </c:pt>
                <c:pt idx="1690">
                  <c:v>56</c:v>
                </c:pt>
                <c:pt idx="1691">
                  <c:v>47</c:v>
                </c:pt>
                <c:pt idx="1692">
                  <c:v>50</c:v>
                </c:pt>
                <c:pt idx="1693">
                  <c:v>54</c:v>
                </c:pt>
                <c:pt idx="1694">
                  <c:v>58.5</c:v>
                </c:pt>
                <c:pt idx="1695">
                  <c:v>70</c:v>
                </c:pt>
                <c:pt idx="1696">
                  <c:v>65</c:v>
                </c:pt>
                <c:pt idx="1697">
                  <c:v>58</c:v>
                </c:pt>
                <c:pt idx="1698">
                  <c:v>48.5</c:v>
                </c:pt>
                <c:pt idx="1699">
                  <c:v>43.5</c:v>
                </c:pt>
                <c:pt idx="1700">
                  <c:v>59.5</c:v>
                </c:pt>
                <c:pt idx="1701">
                  <c:v>74</c:v>
                </c:pt>
                <c:pt idx="1702">
                  <c:v>79.5</c:v>
                </c:pt>
                <c:pt idx="1703">
                  <c:v>75.5</c:v>
                </c:pt>
                <c:pt idx="1704">
                  <c:v>77</c:v>
                </c:pt>
                <c:pt idx="1705">
                  <c:v>84</c:v>
                </c:pt>
                <c:pt idx="1706">
                  <c:v>75</c:v>
                </c:pt>
                <c:pt idx="1707">
                  <c:v>56.5</c:v>
                </c:pt>
                <c:pt idx="1708">
                  <c:v>43</c:v>
                </c:pt>
                <c:pt idx="1709">
                  <c:v>28</c:v>
                </c:pt>
                <c:pt idx="1710">
                  <c:v>33</c:v>
                </c:pt>
                <c:pt idx="1711">
                  <c:v>35.5</c:v>
                </c:pt>
                <c:pt idx="1712">
                  <c:v>40</c:v>
                </c:pt>
                <c:pt idx="1713">
                  <c:v>35.5</c:v>
                </c:pt>
                <c:pt idx="1714">
                  <c:v>34.5</c:v>
                </c:pt>
                <c:pt idx="1715">
                  <c:v>28.5</c:v>
                </c:pt>
                <c:pt idx="1716">
                  <c:v>16.5</c:v>
                </c:pt>
                <c:pt idx="1717">
                  <c:v>34.5</c:v>
                </c:pt>
                <c:pt idx="1718">
                  <c:v>56</c:v>
                </c:pt>
                <c:pt idx="1719">
                  <c:v>40.5</c:v>
                </c:pt>
                <c:pt idx="1720">
                  <c:v>37</c:v>
                </c:pt>
                <c:pt idx="1721">
                  <c:v>63</c:v>
                </c:pt>
                <c:pt idx="1722">
                  <c:v>60.5</c:v>
                </c:pt>
                <c:pt idx="1723">
                  <c:v>49</c:v>
                </c:pt>
                <c:pt idx="1724">
                  <c:v>47.5</c:v>
                </c:pt>
                <c:pt idx="1725">
                  <c:v>59</c:v>
                </c:pt>
                <c:pt idx="1726">
                  <c:v>46</c:v>
                </c:pt>
                <c:pt idx="1727">
                  <c:v>48</c:v>
                </c:pt>
                <c:pt idx="1728">
                  <c:v>73</c:v>
                </c:pt>
                <c:pt idx="1729">
                  <c:v>60.5</c:v>
                </c:pt>
                <c:pt idx="1730">
                  <c:v>49.5</c:v>
                </c:pt>
                <c:pt idx="1731">
                  <c:v>72</c:v>
                </c:pt>
                <c:pt idx="1732">
                  <c:v>62.5</c:v>
                </c:pt>
                <c:pt idx="1733">
                  <c:v>73.5</c:v>
                </c:pt>
                <c:pt idx="1734">
                  <c:v>56</c:v>
                </c:pt>
                <c:pt idx="1735">
                  <c:v>31</c:v>
                </c:pt>
                <c:pt idx="1736">
                  <c:v>48</c:v>
                </c:pt>
                <c:pt idx="1737">
                  <c:v>67</c:v>
                </c:pt>
                <c:pt idx="1738">
                  <c:v>64.5</c:v>
                </c:pt>
                <c:pt idx="1739">
                  <c:v>57.5</c:v>
                </c:pt>
                <c:pt idx="1740">
                  <c:v>59</c:v>
                </c:pt>
                <c:pt idx="1741">
                  <c:v>48.5</c:v>
                </c:pt>
                <c:pt idx="1742">
                  <c:v>69.5</c:v>
                </c:pt>
                <c:pt idx="1743">
                  <c:v>72.5</c:v>
                </c:pt>
                <c:pt idx="1744">
                  <c:v>56</c:v>
                </c:pt>
                <c:pt idx="1745">
                  <c:v>58</c:v>
                </c:pt>
                <c:pt idx="1746">
                  <c:v>51</c:v>
                </c:pt>
                <c:pt idx="1747">
                  <c:v>40</c:v>
                </c:pt>
                <c:pt idx="1748">
                  <c:v>36</c:v>
                </c:pt>
                <c:pt idx="1749">
                  <c:v>39.5</c:v>
                </c:pt>
                <c:pt idx="1750">
                  <c:v>42</c:v>
                </c:pt>
                <c:pt idx="1751">
                  <c:v>58</c:v>
                </c:pt>
                <c:pt idx="1752">
                  <c:v>58.5</c:v>
                </c:pt>
                <c:pt idx="1753">
                  <c:v>54.5</c:v>
                </c:pt>
                <c:pt idx="1754">
                  <c:v>63.5</c:v>
                </c:pt>
                <c:pt idx="1755">
                  <c:v>72.5</c:v>
                </c:pt>
                <c:pt idx="1756">
                  <c:v>62</c:v>
                </c:pt>
                <c:pt idx="1757">
                  <c:v>47.5</c:v>
                </c:pt>
                <c:pt idx="1758">
                  <c:v>45.5</c:v>
                </c:pt>
                <c:pt idx="1759">
                  <c:v>28.5</c:v>
                </c:pt>
                <c:pt idx="1760">
                  <c:v>23.5</c:v>
                </c:pt>
                <c:pt idx="1761">
                  <c:v>35</c:v>
                </c:pt>
                <c:pt idx="1762">
                  <c:v>56.5</c:v>
                </c:pt>
                <c:pt idx="1763">
                  <c:v>48</c:v>
                </c:pt>
                <c:pt idx="1764">
                  <c:v>20</c:v>
                </c:pt>
                <c:pt idx="1765">
                  <c:v>9</c:v>
                </c:pt>
                <c:pt idx="1766">
                  <c:v>33</c:v>
                </c:pt>
                <c:pt idx="1767">
                  <c:v>31</c:v>
                </c:pt>
                <c:pt idx="1768">
                  <c:v>33.5</c:v>
                </c:pt>
                <c:pt idx="1769">
                  <c:v>49.5</c:v>
                </c:pt>
                <c:pt idx="1770">
                  <c:v>70</c:v>
                </c:pt>
                <c:pt idx="1771">
                  <c:v>89.5</c:v>
                </c:pt>
                <c:pt idx="1772">
                  <c:v>69.5</c:v>
                </c:pt>
                <c:pt idx="1773">
                  <c:v>30</c:v>
                </c:pt>
                <c:pt idx="1774">
                  <c:v>53</c:v>
                </c:pt>
                <c:pt idx="1775">
                  <c:v>61</c:v>
                </c:pt>
                <c:pt idx="1776">
                  <c:v>34</c:v>
                </c:pt>
                <c:pt idx="1777">
                  <c:v>52.5</c:v>
                </c:pt>
                <c:pt idx="1778">
                  <c:v>49</c:v>
                </c:pt>
                <c:pt idx="1779">
                  <c:v>67.5</c:v>
                </c:pt>
                <c:pt idx="1780">
                  <c:v>93</c:v>
                </c:pt>
                <c:pt idx="1781">
                  <c:v>92.5</c:v>
                </c:pt>
                <c:pt idx="1782">
                  <c:v>62</c:v>
                </c:pt>
                <c:pt idx="1783">
                  <c:v>42.5</c:v>
                </c:pt>
                <c:pt idx="1784">
                  <c:v>67.5</c:v>
                </c:pt>
                <c:pt idx="1785">
                  <c:v>72</c:v>
                </c:pt>
                <c:pt idx="1786">
                  <c:v>82</c:v>
                </c:pt>
                <c:pt idx="1787">
                  <c:v>81.5</c:v>
                </c:pt>
                <c:pt idx="1788">
                  <c:v>70.5</c:v>
                </c:pt>
                <c:pt idx="1789">
                  <c:v>56</c:v>
                </c:pt>
                <c:pt idx="1790">
                  <c:v>35.5</c:v>
                </c:pt>
                <c:pt idx="1791">
                  <c:v>30.5</c:v>
                </c:pt>
                <c:pt idx="1792">
                  <c:v>40.5</c:v>
                </c:pt>
                <c:pt idx="1793">
                  <c:v>52</c:v>
                </c:pt>
                <c:pt idx="1794">
                  <c:v>44</c:v>
                </c:pt>
                <c:pt idx="1795">
                  <c:v>31.5</c:v>
                </c:pt>
                <c:pt idx="1796">
                  <c:v>29</c:v>
                </c:pt>
                <c:pt idx="1797">
                  <c:v>24</c:v>
                </c:pt>
                <c:pt idx="1798">
                  <c:v>43</c:v>
                </c:pt>
                <c:pt idx="1799">
                  <c:v>48</c:v>
                </c:pt>
                <c:pt idx="1800">
                  <c:v>39</c:v>
                </c:pt>
                <c:pt idx="1801">
                  <c:v>48</c:v>
                </c:pt>
                <c:pt idx="1802">
                  <c:v>41</c:v>
                </c:pt>
                <c:pt idx="1803">
                  <c:v>34</c:v>
                </c:pt>
                <c:pt idx="1804">
                  <c:v>26</c:v>
                </c:pt>
                <c:pt idx="1805">
                  <c:v>38</c:v>
                </c:pt>
                <c:pt idx="1806">
                  <c:v>78</c:v>
                </c:pt>
                <c:pt idx="1807">
                  <c:v>91.5</c:v>
                </c:pt>
                <c:pt idx="1808">
                  <c:v>63.5</c:v>
                </c:pt>
                <c:pt idx="1809">
                  <c:v>24</c:v>
                </c:pt>
                <c:pt idx="1810">
                  <c:v>10</c:v>
                </c:pt>
                <c:pt idx="1811">
                  <c:v>43</c:v>
                </c:pt>
                <c:pt idx="1812">
                  <c:v>68</c:v>
                </c:pt>
                <c:pt idx="1813">
                  <c:v>52.5</c:v>
                </c:pt>
                <c:pt idx="1814">
                  <c:v>42.5</c:v>
                </c:pt>
                <c:pt idx="1815">
                  <c:v>47</c:v>
                </c:pt>
                <c:pt idx="1816">
                  <c:v>44</c:v>
                </c:pt>
                <c:pt idx="1817">
                  <c:v>39.5</c:v>
                </c:pt>
                <c:pt idx="1818">
                  <c:v>31.5</c:v>
                </c:pt>
                <c:pt idx="1819">
                  <c:v>37</c:v>
                </c:pt>
                <c:pt idx="1820">
                  <c:v>36.5</c:v>
                </c:pt>
                <c:pt idx="1821">
                  <c:v>13.5</c:v>
                </c:pt>
                <c:pt idx="1822">
                  <c:v>37.5</c:v>
                </c:pt>
                <c:pt idx="1823">
                  <c:v>49.5</c:v>
                </c:pt>
                <c:pt idx="1824">
                  <c:v>64.5</c:v>
                </c:pt>
                <c:pt idx="1825">
                  <c:v>70.5</c:v>
                </c:pt>
                <c:pt idx="1826">
                  <c:v>71.5</c:v>
                </c:pt>
                <c:pt idx="1827">
                  <c:v>69</c:v>
                </c:pt>
                <c:pt idx="1828">
                  <c:v>54</c:v>
                </c:pt>
                <c:pt idx="1829">
                  <c:v>38.5</c:v>
                </c:pt>
                <c:pt idx="1830">
                  <c:v>50.5</c:v>
                </c:pt>
                <c:pt idx="1831">
                  <c:v>78</c:v>
                </c:pt>
                <c:pt idx="1832">
                  <c:v>62.5</c:v>
                </c:pt>
                <c:pt idx="1833">
                  <c:v>60.5</c:v>
                </c:pt>
                <c:pt idx="1834">
                  <c:v>78.5</c:v>
                </c:pt>
                <c:pt idx="1835">
                  <c:v>95.5</c:v>
                </c:pt>
                <c:pt idx="1836">
                  <c:v>79</c:v>
                </c:pt>
                <c:pt idx="1837">
                  <c:v>65</c:v>
                </c:pt>
                <c:pt idx="1838">
                  <c:v>58</c:v>
                </c:pt>
                <c:pt idx="1839">
                  <c:v>74.5</c:v>
                </c:pt>
                <c:pt idx="1840">
                  <c:v>97.5</c:v>
                </c:pt>
                <c:pt idx="1841">
                  <c:v>69</c:v>
                </c:pt>
                <c:pt idx="1842">
                  <c:v>46.5</c:v>
                </c:pt>
                <c:pt idx="1843">
                  <c:v>33.5</c:v>
                </c:pt>
                <c:pt idx="1844">
                  <c:v>36</c:v>
                </c:pt>
                <c:pt idx="1845">
                  <c:v>81</c:v>
                </c:pt>
                <c:pt idx="1846">
                  <c:v>81.5</c:v>
                </c:pt>
                <c:pt idx="1847">
                  <c:v>73.5</c:v>
                </c:pt>
                <c:pt idx="1848">
                  <c:v>82.5</c:v>
                </c:pt>
                <c:pt idx="1849">
                  <c:v>72</c:v>
                </c:pt>
                <c:pt idx="1850">
                  <c:v>58.5</c:v>
                </c:pt>
                <c:pt idx="1851">
                  <c:v>68.5</c:v>
                </c:pt>
                <c:pt idx="1852">
                  <c:v>67</c:v>
                </c:pt>
                <c:pt idx="1853">
                  <c:v>76</c:v>
                </c:pt>
                <c:pt idx="1854">
                  <c:v>105</c:v>
                </c:pt>
                <c:pt idx="1855">
                  <c:v>86</c:v>
                </c:pt>
                <c:pt idx="1856">
                  <c:v>68</c:v>
                </c:pt>
                <c:pt idx="1857">
                  <c:v>98</c:v>
                </c:pt>
                <c:pt idx="1858">
                  <c:v>92.5</c:v>
                </c:pt>
                <c:pt idx="1859">
                  <c:v>72</c:v>
                </c:pt>
                <c:pt idx="1860">
                  <c:v>47.5</c:v>
                </c:pt>
                <c:pt idx="1861">
                  <c:v>48</c:v>
                </c:pt>
                <c:pt idx="1862">
                  <c:v>41.5</c:v>
                </c:pt>
                <c:pt idx="1863">
                  <c:v>13.5</c:v>
                </c:pt>
                <c:pt idx="1864">
                  <c:v>27.5</c:v>
                </c:pt>
                <c:pt idx="1865">
                  <c:v>48.5</c:v>
                </c:pt>
                <c:pt idx="1866">
                  <c:v>50</c:v>
                </c:pt>
                <c:pt idx="1867">
                  <c:v>66.5</c:v>
                </c:pt>
                <c:pt idx="1868">
                  <c:v>88.5</c:v>
                </c:pt>
                <c:pt idx="1869">
                  <c:v>86.5</c:v>
                </c:pt>
                <c:pt idx="1870">
                  <c:v>70</c:v>
                </c:pt>
                <c:pt idx="1871">
                  <c:v>64.5</c:v>
                </c:pt>
                <c:pt idx="1872">
                  <c:v>72.5</c:v>
                </c:pt>
                <c:pt idx="1873">
                  <c:v>90</c:v>
                </c:pt>
                <c:pt idx="1874">
                  <c:v>86</c:v>
                </c:pt>
                <c:pt idx="1875">
                  <c:v>67.5</c:v>
                </c:pt>
                <c:pt idx="1876">
                  <c:v>73.5</c:v>
                </c:pt>
                <c:pt idx="1877">
                  <c:v>66.5</c:v>
                </c:pt>
                <c:pt idx="1878">
                  <c:v>53.5</c:v>
                </c:pt>
                <c:pt idx="1879">
                  <c:v>65</c:v>
                </c:pt>
                <c:pt idx="1880">
                  <c:v>71</c:v>
                </c:pt>
                <c:pt idx="1881">
                  <c:v>59</c:v>
                </c:pt>
                <c:pt idx="1882">
                  <c:v>50.5</c:v>
                </c:pt>
                <c:pt idx="1883">
                  <c:v>36.5</c:v>
                </c:pt>
                <c:pt idx="1884">
                  <c:v>22.5</c:v>
                </c:pt>
                <c:pt idx="1885">
                  <c:v>45</c:v>
                </c:pt>
                <c:pt idx="1886">
                  <c:v>59</c:v>
                </c:pt>
                <c:pt idx="1887">
                  <c:v>71</c:v>
                </c:pt>
                <c:pt idx="1888">
                  <c:v>87.5</c:v>
                </c:pt>
                <c:pt idx="1889">
                  <c:v>79</c:v>
                </c:pt>
                <c:pt idx="1890">
                  <c:v>56</c:v>
                </c:pt>
                <c:pt idx="1891">
                  <c:v>54</c:v>
                </c:pt>
                <c:pt idx="1892">
                  <c:v>68.5</c:v>
                </c:pt>
                <c:pt idx="1893">
                  <c:v>50.5</c:v>
                </c:pt>
                <c:pt idx="1894">
                  <c:v>21</c:v>
                </c:pt>
                <c:pt idx="1895">
                  <c:v>48</c:v>
                </c:pt>
                <c:pt idx="1896">
                  <c:v>72.5</c:v>
                </c:pt>
                <c:pt idx="1897">
                  <c:v>62</c:v>
                </c:pt>
                <c:pt idx="1898">
                  <c:v>57</c:v>
                </c:pt>
                <c:pt idx="1899">
                  <c:v>79.5</c:v>
                </c:pt>
                <c:pt idx="1900">
                  <c:v>61</c:v>
                </c:pt>
                <c:pt idx="1901">
                  <c:v>42</c:v>
                </c:pt>
                <c:pt idx="1902">
                  <c:v>45</c:v>
                </c:pt>
                <c:pt idx="1903">
                  <c:v>68</c:v>
                </c:pt>
                <c:pt idx="1904">
                  <c:v>104</c:v>
                </c:pt>
                <c:pt idx="1905">
                  <c:v>91.5</c:v>
                </c:pt>
                <c:pt idx="1906">
                  <c:v>59.5</c:v>
                </c:pt>
                <c:pt idx="1907">
                  <c:v>52</c:v>
                </c:pt>
                <c:pt idx="1908">
                  <c:v>50</c:v>
                </c:pt>
                <c:pt idx="1909">
                  <c:v>41.5</c:v>
                </c:pt>
                <c:pt idx="1910">
                  <c:v>62</c:v>
                </c:pt>
                <c:pt idx="1911">
                  <c:v>80.5</c:v>
                </c:pt>
                <c:pt idx="1912">
                  <c:v>66.5</c:v>
                </c:pt>
                <c:pt idx="1913">
                  <c:v>58</c:v>
                </c:pt>
                <c:pt idx="1914">
                  <c:v>67.5</c:v>
                </c:pt>
                <c:pt idx="1915">
                  <c:v>72</c:v>
                </c:pt>
                <c:pt idx="1916">
                  <c:v>48</c:v>
                </c:pt>
                <c:pt idx="1917">
                  <c:v>36</c:v>
                </c:pt>
                <c:pt idx="1918">
                  <c:v>61</c:v>
                </c:pt>
                <c:pt idx="1919">
                  <c:v>80.5</c:v>
                </c:pt>
                <c:pt idx="1920">
                  <c:v>85</c:v>
                </c:pt>
                <c:pt idx="1921">
                  <c:v>83.5</c:v>
                </c:pt>
                <c:pt idx="1922">
                  <c:v>74.5</c:v>
                </c:pt>
                <c:pt idx="1923">
                  <c:v>73.5</c:v>
                </c:pt>
                <c:pt idx="1924">
                  <c:v>60.5</c:v>
                </c:pt>
                <c:pt idx="1925">
                  <c:v>54.5</c:v>
                </c:pt>
                <c:pt idx="1926">
                  <c:v>50</c:v>
                </c:pt>
                <c:pt idx="1927">
                  <c:v>42.5</c:v>
                </c:pt>
                <c:pt idx="1928">
                  <c:v>37.5</c:v>
                </c:pt>
                <c:pt idx="1929">
                  <c:v>41.5</c:v>
                </c:pt>
                <c:pt idx="1930">
                  <c:v>46.5</c:v>
                </c:pt>
                <c:pt idx="1931">
                  <c:v>57</c:v>
                </c:pt>
                <c:pt idx="1932">
                  <c:v>61</c:v>
                </c:pt>
                <c:pt idx="1933">
                  <c:v>66.5</c:v>
                </c:pt>
                <c:pt idx="1934">
                  <c:v>68</c:v>
                </c:pt>
                <c:pt idx="1935">
                  <c:v>60.5</c:v>
                </c:pt>
                <c:pt idx="1936">
                  <c:v>40.5</c:v>
                </c:pt>
                <c:pt idx="1937">
                  <c:v>42.5</c:v>
                </c:pt>
                <c:pt idx="1938">
                  <c:v>61.5</c:v>
                </c:pt>
                <c:pt idx="1939">
                  <c:v>56</c:v>
                </c:pt>
                <c:pt idx="1940">
                  <c:v>54</c:v>
                </c:pt>
                <c:pt idx="1941">
                  <c:v>71.5</c:v>
                </c:pt>
                <c:pt idx="1942">
                  <c:v>66.5</c:v>
                </c:pt>
                <c:pt idx="1943">
                  <c:v>53.5</c:v>
                </c:pt>
                <c:pt idx="1944">
                  <c:v>41</c:v>
                </c:pt>
                <c:pt idx="1945">
                  <c:v>60</c:v>
                </c:pt>
                <c:pt idx="1946">
                  <c:v>91</c:v>
                </c:pt>
                <c:pt idx="1947">
                  <c:v>99.5</c:v>
                </c:pt>
                <c:pt idx="1948">
                  <c:v>61.5</c:v>
                </c:pt>
                <c:pt idx="1949">
                  <c:v>21.5</c:v>
                </c:pt>
                <c:pt idx="1950">
                  <c:v>58.5</c:v>
                </c:pt>
                <c:pt idx="1951">
                  <c:v>65.5</c:v>
                </c:pt>
                <c:pt idx="1952">
                  <c:v>66.5</c:v>
                </c:pt>
                <c:pt idx="1953">
                  <c:v>85.5</c:v>
                </c:pt>
                <c:pt idx="1954">
                  <c:v>83</c:v>
                </c:pt>
                <c:pt idx="1955">
                  <c:v>43.5</c:v>
                </c:pt>
                <c:pt idx="1956">
                  <c:v>50.5</c:v>
                </c:pt>
                <c:pt idx="1957">
                  <c:v>51</c:v>
                </c:pt>
                <c:pt idx="1958">
                  <c:v>43.5</c:v>
                </c:pt>
                <c:pt idx="1959">
                  <c:v>75</c:v>
                </c:pt>
                <c:pt idx="1960">
                  <c:v>82</c:v>
                </c:pt>
                <c:pt idx="1961">
                  <c:v>64.5</c:v>
                </c:pt>
                <c:pt idx="1962">
                  <c:v>57.5</c:v>
                </c:pt>
                <c:pt idx="1963">
                  <c:v>67.5</c:v>
                </c:pt>
                <c:pt idx="1964">
                  <c:v>72</c:v>
                </c:pt>
                <c:pt idx="1965">
                  <c:v>74</c:v>
                </c:pt>
                <c:pt idx="1966">
                  <c:v>70</c:v>
                </c:pt>
                <c:pt idx="1967">
                  <c:v>51.5</c:v>
                </c:pt>
                <c:pt idx="1968">
                  <c:v>35.5</c:v>
                </c:pt>
                <c:pt idx="1969">
                  <c:v>75.5</c:v>
                </c:pt>
                <c:pt idx="1970">
                  <c:v>72.5</c:v>
                </c:pt>
                <c:pt idx="1971">
                  <c:v>51.5</c:v>
                </c:pt>
                <c:pt idx="1972">
                  <c:v>33</c:v>
                </c:pt>
                <c:pt idx="1973">
                  <c:v>24</c:v>
                </c:pt>
                <c:pt idx="1974">
                  <c:v>33.5</c:v>
                </c:pt>
                <c:pt idx="1975">
                  <c:v>49.5</c:v>
                </c:pt>
                <c:pt idx="1976">
                  <c:v>62.5</c:v>
                </c:pt>
                <c:pt idx="1977">
                  <c:v>64.5</c:v>
                </c:pt>
                <c:pt idx="1978">
                  <c:v>42</c:v>
                </c:pt>
                <c:pt idx="1979">
                  <c:v>38.5</c:v>
                </c:pt>
                <c:pt idx="1980">
                  <c:v>54</c:v>
                </c:pt>
                <c:pt idx="1981">
                  <c:v>92</c:v>
                </c:pt>
                <c:pt idx="1982">
                  <c:v>77</c:v>
                </c:pt>
                <c:pt idx="1983">
                  <c:v>38.5</c:v>
                </c:pt>
                <c:pt idx="1984">
                  <c:v>73</c:v>
                </c:pt>
                <c:pt idx="1985">
                  <c:v>69.5</c:v>
                </c:pt>
                <c:pt idx="1986">
                  <c:v>52.5</c:v>
                </c:pt>
                <c:pt idx="1987">
                  <c:v>66</c:v>
                </c:pt>
                <c:pt idx="1988">
                  <c:v>27</c:v>
                </c:pt>
                <c:pt idx="1989">
                  <c:v>59</c:v>
                </c:pt>
                <c:pt idx="1990">
                  <c:v>59.5</c:v>
                </c:pt>
                <c:pt idx="1991">
                  <c:v>55.5</c:v>
                </c:pt>
                <c:pt idx="1992">
                  <c:v>69.5</c:v>
                </c:pt>
                <c:pt idx="1993">
                  <c:v>81</c:v>
                </c:pt>
                <c:pt idx="1994">
                  <c:v>94</c:v>
                </c:pt>
                <c:pt idx="1995">
                  <c:v>92</c:v>
                </c:pt>
                <c:pt idx="1996">
                  <c:v>96</c:v>
                </c:pt>
                <c:pt idx="1997">
                  <c:v>70</c:v>
                </c:pt>
                <c:pt idx="1998">
                  <c:v>35.5</c:v>
                </c:pt>
                <c:pt idx="1999">
                  <c:v>63</c:v>
                </c:pt>
                <c:pt idx="2000">
                  <c:v>49</c:v>
                </c:pt>
                <c:pt idx="2001">
                  <c:v>20.5</c:v>
                </c:pt>
                <c:pt idx="2002">
                  <c:v>51</c:v>
                </c:pt>
                <c:pt idx="2003">
                  <c:v>47</c:v>
                </c:pt>
                <c:pt idx="2004">
                  <c:v>71</c:v>
                </c:pt>
                <c:pt idx="2005">
                  <c:v>80.5</c:v>
                </c:pt>
                <c:pt idx="2006">
                  <c:v>98.5</c:v>
                </c:pt>
                <c:pt idx="2007">
                  <c:v>116.5</c:v>
                </c:pt>
                <c:pt idx="2008">
                  <c:v>104.5</c:v>
                </c:pt>
                <c:pt idx="2009">
                  <c:v>76</c:v>
                </c:pt>
                <c:pt idx="2010">
                  <c:v>82.5</c:v>
                </c:pt>
                <c:pt idx="2011">
                  <c:v>104</c:v>
                </c:pt>
                <c:pt idx="2012">
                  <c:v>85.5</c:v>
                </c:pt>
                <c:pt idx="2013">
                  <c:v>31</c:v>
                </c:pt>
                <c:pt idx="2014">
                  <c:v>39</c:v>
                </c:pt>
                <c:pt idx="2015">
                  <c:v>48</c:v>
                </c:pt>
                <c:pt idx="2016">
                  <c:v>74.5</c:v>
                </c:pt>
                <c:pt idx="2017">
                  <c:v>94.5</c:v>
                </c:pt>
                <c:pt idx="2018">
                  <c:v>61.5</c:v>
                </c:pt>
                <c:pt idx="2019">
                  <c:v>83.5</c:v>
                </c:pt>
                <c:pt idx="2020">
                  <c:v>97.5</c:v>
                </c:pt>
                <c:pt idx="2021">
                  <c:v>100</c:v>
                </c:pt>
                <c:pt idx="2022">
                  <c:v>99</c:v>
                </c:pt>
                <c:pt idx="2023">
                  <c:v>79</c:v>
                </c:pt>
                <c:pt idx="2024">
                  <c:v>74.5</c:v>
                </c:pt>
                <c:pt idx="2025">
                  <c:v>81.5</c:v>
                </c:pt>
                <c:pt idx="2026">
                  <c:v>83.5</c:v>
                </c:pt>
                <c:pt idx="2027">
                  <c:v>73.5</c:v>
                </c:pt>
                <c:pt idx="2028">
                  <c:v>56</c:v>
                </c:pt>
                <c:pt idx="2029">
                  <c:v>80</c:v>
                </c:pt>
                <c:pt idx="2030">
                  <c:v>97</c:v>
                </c:pt>
                <c:pt idx="2031">
                  <c:v>94.5</c:v>
                </c:pt>
                <c:pt idx="2032">
                  <c:v>85.5</c:v>
                </c:pt>
                <c:pt idx="2033">
                  <c:v>45</c:v>
                </c:pt>
                <c:pt idx="2034">
                  <c:v>58</c:v>
                </c:pt>
                <c:pt idx="2035">
                  <c:v>96</c:v>
                </c:pt>
                <c:pt idx="2036">
                  <c:v>112</c:v>
                </c:pt>
                <c:pt idx="2037">
                  <c:v>107.5</c:v>
                </c:pt>
                <c:pt idx="2038">
                  <c:v>111.5</c:v>
                </c:pt>
                <c:pt idx="2039">
                  <c:v>108</c:v>
                </c:pt>
                <c:pt idx="2040">
                  <c:v>61.5</c:v>
                </c:pt>
                <c:pt idx="2041">
                  <c:v>36.5</c:v>
                </c:pt>
                <c:pt idx="2042">
                  <c:v>45.5</c:v>
                </c:pt>
                <c:pt idx="2043">
                  <c:v>62.5</c:v>
                </c:pt>
                <c:pt idx="2044">
                  <c:v>69.5</c:v>
                </c:pt>
                <c:pt idx="2045">
                  <c:v>84</c:v>
                </c:pt>
                <c:pt idx="2046">
                  <c:v>76</c:v>
                </c:pt>
                <c:pt idx="2047">
                  <c:v>44.5</c:v>
                </c:pt>
                <c:pt idx="2048">
                  <c:v>35.5</c:v>
                </c:pt>
                <c:pt idx="2049">
                  <c:v>46.5</c:v>
                </c:pt>
                <c:pt idx="2050">
                  <c:v>62</c:v>
                </c:pt>
                <c:pt idx="2051">
                  <c:v>91.5</c:v>
                </c:pt>
                <c:pt idx="2052">
                  <c:v>80</c:v>
                </c:pt>
                <c:pt idx="2053">
                  <c:v>74</c:v>
                </c:pt>
                <c:pt idx="2054">
                  <c:v>58.5</c:v>
                </c:pt>
                <c:pt idx="2055">
                  <c:v>65.5</c:v>
                </c:pt>
                <c:pt idx="2056">
                  <c:v>58.5</c:v>
                </c:pt>
                <c:pt idx="2057">
                  <c:v>105.5</c:v>
                </c:pt>
                <c:pt idx="2058">
                  <c:v>95.5</c:v>
                </c:pt>
                <c:pt idx="2059">
                  <c:v>45</c:v>
                </c:pt>
                <c:pt idx="2060">
                  <c:v>66.5</c:v>
                </c:pt>
                <c:pt idx="2061">
                  <c:v>89</c:v>
                </c:pt>
                <c:pt idx="2062">
                  <c:v>95</c:v>
                </c:pt>
                <c:pt idx="2063">
                  <c:v>118.5</c:v>
                </c:pt>
                <c:pt idx="2064">
                  <c:v>72.5</c:v>
                </c:pt>
                <c:pt idx="2065">
                  <c:v>69.5</c:v>
                </c:pt>
                <c:pt idx="2066">
                  <c:v>81</c:v>
                </c:pt>
                <c:pt idx="2067">
                  <c:v>38.5</c:v>
                </c:pt>
                <c:pt idx="2068">
                  <c:v>79</c:v>
                </c:pt>
                <c:pt idx="2069">
                  <c:v>75</c:v>
                </c:pt>
                <c:pt idx="2070">
                  <c:v>54.5</c:v>
                </c:pt>
                <c:pt idx="2071">
                  <c:v>52.5</c:v>
                </c:pt>
                <c:pt idx="2072">
                  <c:v>47.5</c:v>
                </c:pt>
                <c:pt idx="2073">
                  <c:v>30.5</c:v>
                </c:pt>
                <c:pt idx="2074">
                  <c:v>32</c:v>
                </c:pt>
                <c:pt idx="2075">
                  <c:v>46.5</c:v>
                </c:pt>
                <c:pt idx="2076">
                  <c:v>76</c:v>
                </c:pt>
                <c:pt idx="2077">
                  <c:v>50.5</c:v>
                </c:pt>
                <c:pt idx="2078">
                  <c:v>28.5</c:v>
                </c:pt>
                <c:pt idx="2079">
                  <c:v>86</c:v>
                </c:pt>
                <c:pt idx="2080">
                  <c:v>74</c:v>
                </c:pt>
                <c:pt idx="2081">
                  <c:v>37</c:v>
                </c:pt>
                <c:pt idx="2082">
                  <c:v>68</c:v>
                </c:pt>
                <c:pt idx="2083">
                  <c:v>107</c:v>
                </c:pt>
                <c:pt idx="2084">
                  <c:v>107</c:v>
                </c:pt>
                <c:pt idx="2085">
                  <c:v>44</c:v>
                </c:pt>
                <c:pt idx="2086">
                  <c:v>26</c:v>
                </c:pt>
                <c:pt idx="2087">
                  <c:v>28.5</c:v>
                </c:pt>
                <c:pt idx="2088">
                  <c:v>31</c:v>
                </c:pt>
                <c:pt idx="2089">
                  <c:v>32.5</c:v>
                </c:pt>
                <c:pt idx="2090">
                  <c:v>87.5</c:v>
                </c:pt>
                <c:pt idx="2091">
                  <c:v>97</c:v>
                </c:pt>
                <c:pt idx="2092">
                  <c:v>48</c:v>
                </c:pt>
                <c:pt idx="2093">
                  <c:v>39</c:v>
                </c:pt>
                <c:pt idx="2094">
                  <c:v>61.5</c:v>
                </c:pt>
                <c:pt idx="2095">
                  <c:v>79</c:v>
                </c:pt>
                <c:pt idx="2096">
                  <c:v>29.5</c:v>
                </c:pt>
                <c:pt idx="2097">
                  <c:v>69</c:v>
                </c:pt>
                <c:pt idx="2098">
                  <c:v>110</c:v>
                </c:pt>
                <c:pt idx="2099">
                  <c:v>101</c:v>
                </c:pt>
                <c:pt idx="2100">
                  <c:v>88</c:v>
                </c:pt>
                <c:pt idx="2101">
                  <c:v>89</c:v>
                </c:pt>
                <c:pt idx="2102">
                  <c:v>96.5</c:v>
                </c:pt>
                <c:pt idx="2103">
                  <c:v>108.5</c:v>
                </c:pt>
                <c:pt idx="2104">
                  <c:v>74.5</c:v>
                </c:pt>
                <c:pt idx="2105">
                  <c:v>56.5</c:v>
                </c:pt>
                <c:pt idx="2106">
                  <c:v>85</c:v>
                </c:pt>
                <c:pt idx="2107">
                  <c:v>63</c:v>
                </c:pt>
                <c:pt idx="2108">
                  <c:v>55.5</c:v>
                </c:pt>
                <c:pt idx="2109">
                  <c:v>81</c:v>
                </c:pt>
                <c:pt idx="2110">
                  <c:v>81</c:v>
                </c:pt>
                <c:pt idx="2111">
                  <c:v>62.5</c:v>
                </c:pt>
                <c:pt idx="2112">
                  <c:v>63</c:v>
                </c:pt>
                <c:pt idx="2113">
                  <c:v>80.5</c:v>
                </c:pt>
                <c:pt idx="2114">
                  <c:v>89</c:v>
                </c:pt>
                <c:pt idx="2115">
                  <c:v>105.5</c:v>
                </c:pt>
                <c:pt idx="2116">
                  <c:v>71</c:v>
                </c:pt>
                <c:pt idx="2117">
                  <c:v>66.5</c:v>
                </c:pt>
                <c:pt idx="2118">
                  <c:v>66.5</c:v>
                </c:pt>
                <c:pt idx="2119">
                  <c:v>39</c:v>
                </c:pt>
                <c:pt idx="2120">
                  <c:v>41.5</c:v>
                </c:pt>
                <c:pt idx="2121">
                  <c:v>66.5</c:v>
                </c:pt>
                <c:pt idx="2122">
                  <c:v>83</c:v>
                </c:pt>
                <c:pt idx="2123">
                  <c:v>42</c:v>
                </c:pt>
                <c:pt idx="2124">
                  <c:v>69</c:v>
                </c:pt>
                <c:pt idx="2125">
                  <c:v>89</c:v>
                </c:pt>
                <c:pt idx="2126">
                  <c:v>66.5</c:v>
                </c:pt>
                <c:pt idx="2127">
                  <c:v>60.5</c:v>
                </c:pt>
                <c:pt idx="2128">
                  <c:v>91.5</c:v>
                </c:pt>
                <c:pt idx="2129">
                  <c:v>86</c:v>
                </c:pt>
                <c:pt idx="2130">
                  <c:v>43</c:v>
                </c:pt>
                <c:pt idx="2131">
                  <c:v>71.5</c:v>
                </c:pt>
                <c:pt idx="2132">
                  <c:v>97</c:v>
                </c:pt>
                <c:pt idx="2133">
                  <c:v>77</c:v>
                </c:pt>
                <c:pt idx="2134">
                  <c:v>52.5</c:v>
                </c:pt>
                <c:pt idx="2135">
                  <c:v>79.5</c:v>
                </c:pt>
                <c:pt idx="2136">
                  <c:v>113</c:v>
                </c:pt>
                <c:pt idx="2137">
                  <c:v>108.5</c:v>
                </c:pt>
                <c:pt idx="2138">
                  <c:v>100</c:v>
                </c:pt>
                <c:pt idx="2139">
                  <c:v>106.5</c:v>
                </c:pt>
                <c:pt idx="2140">
                  <c:v>94.5</c:v>
                </c:pt>
                <c:pt idx="2141">
                  <c:v>103</c:v>
                </c:pt>
                <c:pt idx="2142">
                  <c:v>76.5</c:v>
                </c:pt>
                <c:pt idx="2143">
                  <c:v>51.5</c:v>
                </c:pt>
                <c:pt idx="2144">
                  <c:v>21</c:v>
                </c:pt>
                <c:pt idx="2145">
                  <c:v>34</c:v>
                </c:pt>
                <c:pt idx="2146">
                  <c:v>93</c:v>
                </c:pt>
                <c:pt idx="2147">
                  <c:v>138.5</c:v>
                </c:pt>
                <c:pt idx="2148">
                  <c:v>124</c:v>
                </c:pt>
                <c:pt idx="2149">
                  <c:v>91</c:v>
                </c:pt>
                <c:pt idx="2150">
                  <c:v>66.5</c:v>
                </c:pt>
                <c:pt idx="2151">
                  <c:v>75</c:v>
                </c:pt>
                <c:pt idx="2152">
                  <c:v>54</c:v>
                </c:pt>
                <c:pt idx="2153">
                  <c:v>45.5</c:v>
                </c:pt>
                <c:pt idx="2154">
                  <c:v>113.5</c:v>
                </c:pt>
                <c:pt idx="2155">
                  <c:v>102</c:v>
                </c:pt>
                <c:pt idx="2156">
                  <c:v>49</c:v>
                </c:pt>
                <c:pt idx="2157">
                  <c:v>57.5</c:v>
                </c:pt>
                <c:pt idx="2158">
                  <c:v>43.5</c:v>
                </c:pt>
                <c:pt idx="2159">
                  <c:v>30.5</c:v>
                </c:pt>
                <c:pt idx="2160">
                  <c:v>61.5</c:v>
                </c:pt>
                <c:pt idx="2161">
                  <c:v>111</c:v>
                </c:pt>
                <c:pt idx="2162">
                  <c:v>106</c:v>
                </c:pt>
                <c:pt idx="2163">
                  <c:v>54.5</c:v>
                </c:pt>
                <c:pt idx="2164">
                  <c:v>37</c:v>
                </c:pt>
                <c:pt idx="2165">
                  <c:v>37.5</c:v>
                </c:pt>
                <c:pt idx="2166">
                  <c:v>60.5</c:v>
                </c:pt>
                <c:pt idx="2167">
                  <c:v>75.5</c:v>
                </c:pt>
                <c:pt idx="2168">
                  <c:v>112</c:v>
                </c:pt>
                <c:pt idx="2169">
                  <c:v>136.5</c:v>
                </c:pt>
                <c:pt idx="2170">
                  <c:v>113</c:v>
                </c:pt>
                <c:pt idx="2171">
                  <c:v>86.5</c:v>
                </c:pt>
                <c:pt idx="2172">
                  <c:v>74</c:v>
                </c:pt>
                <c:pt idx="2173">
                  <c:v>60.5</c:v>
                </c:pt>
                <c:pt idx="2174">
                  <c:v>82.5</c:v>
                </c:pt>
                <c:pt idx="2175">
                  <c:v>77</c:v>
                </c:pt>
                <c:pt idx="2176">
                  <c:v>61</c:v>
                </c:pt>
                <c:pt idx="2177">
                  <c:v>51.5</c:v>
                </c:pt>
                <c:pt idx="2178">
                  <c:v>52</c:v>
                </c:pt>
                <c:pt idx="2179">
                  <c:v>51</c:v>
                </c:pt>
                <c:pt idx="2180">
                  <c:v>44.5</c:v>
                </c:pt>
                <c:pt idx="2181">
                  <c:v>38.5</c:v>
                </c:pt>
                <c:pt idx="2182">
                  <c:v>64</c:v>
                </c:pt>
                <c:pt idx="2183">
                  <c:v>121.5</c:v>
                </c:pt>
                <c:pt idx="2184">
                  <c:v>167.5</c:v>
                </c:pt>
                <c:pt idx="2185">
                  <c:v>180.5</c:v>
                </c:pt>
                <c:pt idx="2186">
                  <c:v>83</c:v>
                </c:pt>
                <c:pt idx="2187">
                  <c:v>53</c:v>
                </c:pt>
                <c:pt idx="2188">
                  <c:v>88</c:v>
                </c:pt>
                <c:pt idx="2189">
                  <c:v>48</c:v>
                </c:pt>
                <c:pt idx="2190">
                  <c:v>60.5</c:v>
                </c:pt>
                <c:pt idx="2191">
                  <c:v>60.5</c:v>
                </c:pt>
                <c:pt idx="2192">
                  <c:v>59.5</c:v>
                </c:pt>
                <c:pt idx="2193">
                  <c:v>46</c:v>
                </c:pt>
                <c:pt idx="2194">
                  <c:v>38.5</c:v>
                </c:pt>
                <c:pt idx="2195">
                  <c:v>67</c:v>
                </c:pt>
                <c:pt idx="2196">
                  <c:v>62</c:v>
                </c:pt>
                <c:pt idx="2197">
                  <c:v>145.5</c:v>
                </c:pt>
                <c:pt idx="2198">
                  <c:v>79.5</c:v>
                </c:pt>
                <c:pt idx="2199">
                  <c:v>119</c:v>
                </c:pt>
                <c:pt idx="2200">
                  <c:v>85</c:v>
                </c:pt>
                <c:pt idx="2201">
                  <c:v>74.5</c:v>
                </c:pt>
                <c:pt idx="2202">
                  <c:v>29.5</c:v>
                </c:pt>
                <c:pt idx="2203">
                  <c:v>120</c:v>
                </c:pt>
                <c:pt idx="2204">
                  <c:v>112</c:v>
                </c:pt>
                <c:pt idx="2205">
                  <c:v>92.5</c:v>
                </c:pt>
                <c:pt idx="2206">
                  <c:v>49.5</c:v>
                </c:pt>
                <c:pt idx="2207">
                  <c:v>107</c:v>
                </c:pt>
                <c:pt idx="2208">
                  <c:v>89</c:v>
                </c:pt>
                <c:pt idx="2209">
                  <c:v>76.5</c:v>
                </c:pt>
                <c:pt idx="2210">
                  <c:v>54.5</c:v>
                </c:pt>
                <c:pt idx="2211">
                  <c:v>99.5</c:v>
                </c:pt>
                <c:pt idx="2212">
                  <c:v>55.5</c:v>
                </c:pt>
                <c:pt idx="2213">
                  <c:v>69</c:v>
                </c:pt>
                <c:pt idx="2214">
                  <c:v>54.5</c:v>
                </c:pt>
                <c:pt idx="2215">
                  <c:v>72</c:v>
                </c:pt>
                <c:pt idx="2216">
                  <c:v>126.5</c:v>
                </c:pt>
                <c:pt idx="2217">
                  <c:v>98.5</c:v>
                </c:pt>
                <c:pt idx="2218">
                  <c:v>82.5</c:v>
                </c:pt>
                <c:pt idx="2219">
                  <c:v>76.5</c:v>
                </c:pt>
                <c:pt idx="2220">
                  <c:v>86</c:v>
                </c:pt>
                <c:pt idx="2221">
                  <c:v>78.5</c:v>
                </c:pt>
                <c:pt idx="2222">
                  <c:v>50.5</c:v>
                </c:pt>
                <c:pt idx="2223">
                  <c:v>132.5</c:v>
                </c:pt>
                <c:pt idx="2224">
                  <c:v>161.5</c:v>
                </c:pt>
                <c:pt idx="2225">
                  <c:v>117.5</c:v>
                </c:pt>
                <c:pt idx="2226">
                  <c:v>44</c:v>
                </c:pt>
                <c:pt idx="2227">
                  <c:v>124</c:v>
                </c:pt>
                <c:pt idx="2228">
                  <c:v>88</c:v>
                </c:pt>
                <c:pt idx="2229">
                  <c:v>91.5</c:v>
                </c:pt>
                <c:pt idx="2230">
                  <c:v>198</c:v>
                </c:pt>
                <c:pt idx="2231">
                  <c:v>167.5</c:v>
                </c:pt>
                <c:pt idx="2232">
                  <c:v>23.5</c:v>
                </c:pt>
                <c:pt idx="2233">
                  <c:v>138</c:v>
                </c:pt>
                <c:pt idx="2234">
                  <c:v>155.5</c:v>
                </c:pt>
                <c:pt idx="2235">
                  <c:v>119</c:v>
                </c:pt>
                <c:pt idx="2236">
                  <c:v>102</c:v>
                </c:pt>
                <c:pt idx="2237">
                  <c:v>93</c:v>
                </c:pt>
                <c:pt idx="2238">
                  <c:v>109</c:v>
                </c:pt>
                <c:pt idx="2239">
                  <c:v>111</c:v>
                </c:pt>
                <c:pt idx="2240">
                  <c:v>137</c:v>
                </c:pt>
                <c:pt idx="2241">
                  <c:v>93</c:v>
                </c:pt>
                <c:pt idx="2242">
                  <c:v>30.5</c:v>
                </c:pt>
                <c:pt idx="2243">
                  <c:v>170</c:v>
                </c:pt>
                <c:pt idx="2244">
                  <c:v>217</c:v>
                </c:pt>
                <c:pt idx="2245">
                  <c:v>99</c:v>
                </c:pt>
                <c:pt idx="2246">
                  <c:v>71.5</c:v>
                </c:pt>
                <c:pt idx="2247">
                  <c:v>164</c:v>
                </c:pt>
                <c:pt idx="2248">
                  <c:v>183.5</c:v>
                </c:pt>
                <c:pt idx="2249">
                  <c:v>152</c:v>
                </c:pt>
                <c:pt idx="2250">
                  <c:v>145.5</c:v>
                </c:pt>
                <c:pt idx="2251">
                  <c:v>118.5</c:v>
                </c:pt>
                <c:pt idx="2252">
                  <c:v>171</c:v>
                </c:pt>
                <c:pt idx="2253">
                  <c:v>148.5</c:v>
                </c:pt>
                <c:pt idx="2254">
                  <c:v>157.5</c:v>
                </c:pt>
                <c:pt idx="2255">
                  <c:v>106</c:v>
                </c:pt>
                <c:pt idx="2256">
                  <c:v>15</c:v>
                </c:pt>
                <c:pt idx="2257">
                  <c:v>88.5</c:v>
                </c:pt>
                <c:pt idx="2258">
                  <c:v>127.5</c:v>
                </c:pt>
                <c:pt idx="2259">
                  <c:v>163.5</c:v>
                </c:pt>
                <c:pt idx="2260">
                  <c:v>156.5</c:v>
                </c:pt>
                <c:pt idx="2261">
                  <c:v>89.5</c:v>
                </c:pt>
                <c:pt idx="2262">
                  <c:v>99.5</c:v>
                </c:pt>
                <c:pt idx="2263">
                  <c:v>168</c:v>
                </c:pt>
                <c:pt idx="2264">
                  <c:v>191.5</c:v>
                </c:pt>
                <c:pt idx="2265">
                  <c:v>149</c:v>
                </c:pt>
                <c:pt idx="2266">
                  <c:v>136.5</c:v>
                </c:pt>
                <c:pt idx="2267">
                  <c:v>95</c:v>
                </c:pt>
                <c:pt idx="2268">
                  <c:v>83</c:v>
                </c:pt>
                <c:pt idx="2269">
                  <c:v>99.5</c:v>
                </c:pt>
                <c:pt idx="2270">
                  <c:v>143.5</c:v>
                </c:pt>
                <c:pt idx="2271">
                  <c:v>181.5</c:v>
                </c:pt>
                <c:pt idx="2272">
                  <c:v>178</c:v>
                </c:pt>
                <c:pt idx="2273">
                  <c:v>205</c:v>
                </c:pt>
                <c:pt idx="2274">
                  <c:v>195.5</c:v>
                </c:pt>
                <c:pt idx="2275">
                  <c:v>131.5</c:v>
                </c:pt>
                <c:pt idx="2276">
                  <c:v>40</c:v>
                </c:pt>
                <c:pt idx="2277">
                  <c:v>70.5</c:v>
                </c:pt>
                <c:pt idx="2278">
                  <c:v>83</c:v>
                </c:pt>
                <c:pt idx="2279">
                  <c:v>72.5</c:v>
                </c:pt>
                <c:pt idx="2280">
                  <c:v>110.5</c:v>
                </c:pt>
                <c:pt idx="2281">
                  <c:v>141.5</c:v>
                </c:pt>
                <c:pt idx="2282">
                  <c:v>100</c:v>
                </c:pt>
                <c:pt idx="2283">
                  <c:v>47.5</c:v>
                </c:pt>
                <c:pt idx="2284">
                  <c:v>105</c:v>
                </c:pt>
                <c:pt idx="2285">
                  <c:v>141</c:v>
                </c:pt>
                <c:pt idx="2286">
                  <c:v>136</c:v>
                </c:pt>
                <c:pt idx="2287">
                  <c:v>178.5</c:v>
                </c:pt>
                <c:pt idx="2288">
                  <c:v>186</c:v>
                </c:pt>
                <c:pt idx="2289">
                  <c:v>126</c:v>
                </c:pt>
                <c:pt idx="2290">
                  <c:v>121.5</c:v>
                </c:pt>
                <c:pt idx="2291">
                  <c:v>115.5</c:v>
                </c:pt>
                <c:pt idx="2292">
                  <c:v>140.5</c:v>
                </c:pt>
                <c:pt idx="2293">
                  <c:v>191</c:v>
                </c:pt>
                <c:pt idx="2294">
                  <c:v>227</c:v>
                </c:pt>
                <c:pt idx="2295">
                  <c:v>227.5</c:v>
                </c:pt>
                <c:pt idx="2296">
                  <c:v>174</c:v>
                </c:pt>
                <c:pt idx="2297">
                  <c:v>126.5</c:v>
                </c:pt>
                <c:pt idx="2298">
                  <c:v>175</c:v>
                </c:pt>
                <c:pt idx="2299">
                  <c:v>173</c:v>
                </c:pt>
                <c:pt idx="2300">
                  <c:v>94.5</c:v>
                </c:pt>
                <c:pt idx="2301">
                  <c:v>70</c:v>
                </c:pt>
                <c:pt idx="2302">
                  <c:v>83.5</c:v>
                </c:pt>
                <c:pt idx="2303">
                  <c:v>129.5</c:v>
                </c:pt>
                <c:pt idx="2304">
                  <c:v>191.5</c:v>
                </c:pt>
                <c:pt idx="2305">
                  <c:v>208.5</c:v>
                </c:pt>
                <c:pt idx="2306">
                  <c:v>154</c:v>
                </c:pt>
                <c:pt idx="2307">
                  <c:v>101</c:v>
                </c:pt>
                <c:pt idx="2308">
                  <c:v>109</c:v>
                </c:pt>
                <c:pt idx="2309">
                  <c:v>123</c:v>
                </c:pt>
                <c:pt idx="2310">
                  <c:v>188</c:v>
                </c:pt>
                <c:pt idx="2311">
                  <c:v>216.5</c:v>
                </c:pt>
                <c:pt idx="2312">
                  <c:v>160</c:v>
                </c:pt>
                <c:pt idx="2313">
                  <c:v>74.5</c:v>
                </c:pt>
                <c:pt idx="2314">
                  <c:v>109.5</c:v>
                </c:pt>
                <c:pt idx="2315">
                  <c:v>124.5</c:v>
                </c:pt>
                <c:pt idx="2316">
                  <c:v>103</c:v>
                </c:pt>
                <c:pt idx="2317">
                  <c:v>79.5</c:v>
                </c:pt>
                <c:pt idx="2318">
                  <c:v>31</c:v>
                </c:pt>
                <c:pt idx="2319">
                  <c:v>77</c:v>
                </c:pt>
                <c:pt idx="2320">
                  <c:v>134</c:v>
                </c:pt>
                <c:pt idx="2321">
                  <c:v>150</c:v>
                </c:pt>
                <c:pt idx="2322">
                  <c:v>109</c:v>
                </c:pt>
                <c:pt idx="2323">
                  <c:v>73.5</c:v>
                </c:pt>
                <c:pt idx="2324">
                  <c:v>85.5</c:v>
                </c:pt>
                <c:pt idx="2325">
                  <c:v>155</c:v>
                </c:pt>
                <c:pt idx="2326">
                  <c:v>155.5</c:v>
                </c:pt>
                <c:pt idx="2327">
                  <c:v>75</c:v>
                </c:pt>
                <c:pt idx="2328">
                  <c:v>70.5</c:v>
                </c:pt>
                <c:pt idx="2329">
                  <c:v>88</c:v>
                </c:pt>
                <c:pt idx="2330">
                  <c:v>93.5</c:v>
                </c:pt>
                <c:pt idx="2331">
                  <c:v>89</c:v>
                </c:pt>
                <c:pt idx="2332">
                  <c:v>82</c:v>
                </c:pt>
                <c:pt idx="2333">
                  <c:v>86.5</c:v>
                </c:pt>
                <c:pt idx="2334">
                  <c:v>128.5</c:v>
                </c:pt>
                <c:pt idx="2335">
                  <c:v>131.5</c:v>
                </c:pt>
                <c:pt idx="2336">
                  <c:v>175</c:v>
                </c:pt>
                <c:pt idx="2337">
                  <c:v>127</c:v>
                </c:pt>
                <c:pt idx="2338">
                  <c:v>53</c:v>
                </c:pt>
                <c:pt idx="2339">
                  <c:v>66</c:v>
                </c:pt>
                <c:pt idx="2340">
                  <c:v>107</c:v>
                </c:pt>
                <c:pt idx="2341">
                  <c:v>175.5</c:v>
                </c:pt>
                <c:pt idx="2342">
                  <c:v>184</c:v>
                </c:pt>
                <c:pt idx="2343">
                  <c:v>176.5</c:v>
                </c:pt>
                <c:pt idx="2344">
                  <c:v>173.5</c:v>
                </c:pt>
                <c:pt idx="2345">
                  <c:v>146.5</c:v>
                </c:pt>
                <c:pt idx="2346">
                  <c:v>108</c:v>
                </c:pt>
                <c:pt idx="2347">
                  <c:v>86.5</c:v>
                </c:pt>
                <c:pt idx="2348">
                  <c:v>95</c:v>
                </c:pt>
                <c:pt idx="2349">
                  <c:v>86</c:v>
                </c:pt>
                <c:pt idx="2350">
                  <c:v>79</c:v>
                </c:pt>
                <c:pt idx="2351">
                  <c:v>56.5</c:v>
                </c:pt>
                <c:pt idx="2352">
                  <c:v>56</c:v>
                </c:pt>
                <c:pt idx="2353">
                  <c:v>135.5</c:v>
                </c:pt>
                <c:pt idx="2354">
                  <c:v>159.5</c:v>
                </c:pt>
                <c:pt idx="2355">
                  <c:v>127</c:v>
                </c:pt>
                <c:pt idx="2356">
                  <c:v>95</c:v>
                </c:pt>
                <c:pt idx="2357">
                  <c:v>97</c:v>
                </c:pt>
                <c:pt idx="2358">
                  <c:v>90.5</c:v>
                </c:pt>
                <c:pt idx="2359">
                  <c:v>108.5</c:v>
                </c:pt>
                <c:pt idx="2360">
                  <c:v>118</c:v>
                </c:pt>
                <c:pt idx="2361">
                  <c:v>128.5</c:v>
                </c:pt>
                <c:pt idx="2362">
                  <c:v>153.5</c:v>
                </c:pt>
                <c:pt idx="2363">
                  <c:v>131.5</c:v>
                </c:pt>
                <c:pt idx="2364">
                  <c:v>91</c:v>
                </c:pt>
                <c:pt idx="2365">
                  <c:v>27</c:v>
                </c:pt>
                <c:pt idx="2366">
                  <c:v>96</c:v>
                </c:pt>
                <c:pt idx="2367">
                  <c:v>149.5</c:v>
                </c:pt>
                <c:pt idx="2368">
                  <c:v>170</c:v>
                </c:pt>
                <c:pt idx="2369">
                  <c:v>138.5</c:v>
                </c:pt>
                <c:pt idx="2370">
                  <c:v>49.5</c:v>
                </c:pt>
                <c:pt idx="2371">
                  <c:v>26.5</c:v>
                </c:pt>
                <c:pt idx="2372">
                  <c:v>40.5</c:v>
                </c:pt>
                <c:pt idx="2373">
                  <c:v>47.5</c:v>
                </c:pt>
                <c:pt idx="2374">
                  <c:v>36.5</c:v>
                </c:pt>
                <c:pt idx="2375">
                  <c:v>64.5</c:v>
                </c:pt>
                <c:pt idx="2376">
                  <c:v>105</c:v>
                </c:pt>
                <c:pt idx="2377">
                  <c:v>118</c:v>
                </c:pt>
                <c:pt idx="2378">
                  <c:v>140.5</c:v>
                </c:pt>
                <c:pt idx="2379">
                  <c:v>97.5</c:v>
                </c:pt>
                <c:pt idx="2380">
                  <c:v>55.5</c:v>
                </c:pt>
                <c:pt idx="2381">
                  <c:v>37</c:v>
                </c:pt>
                <c:pt idx="2382">
                  <c:v>57.5</c:v>
                </c:pt>
                <c:pt idx="2383">
                  <c:v>135.5</c:v>
                </c:pt>
                <c:pt idx="2384">
                  <c:v>144</c:v>
                </c:pt>
                <c:pt idx="2385">
                  <c:v>69.5</c:v>
                </c:pt>
                <c:pt idx="2386">
                  <c:v>81</c:v>
                </c:pt>
                <c:pt idx="2387">
                  <c:v>53</c:v>
                </c:pt>
                <c:pt idx="2388">
                  <c:v>65.5</c:v>
                </c:pt>
                <c:pt idx="2389">
                  <c:v>90</c:v>
                </c:pt>
                <c:pt idx="2390">
                  <c:v>61.5</c:v>
                </c:pt>
                <c:pt idx="2391">
                  <c:v>62</c:v>
                </c:pt>
                <c:pt idx="2392">
                  <c:v>93</c:v>
                </c:pt>
                <c:pt idx="2393">
                  <c:v>73.5</c:v>
                </c:pt>
                <c:pt idx="2394">
                  <c:v>92</c:v>
                </c:pt>
                <c:pt idx="2395">
                  <c:v>67.5</c:v>
                </c:pt>
                <c:pt idx="2396">
                  <c:v>78</c:v>
                </c:pt>
                <c:pt idx="2397">
                  <c:v>115.5</c:v>
                </c:pt>
                <c:pt idx="2398">
                  <c:v>116.5</c:v>
                </c:pt>
                <c:pt idx="2399">
                  <c:v>79.5</c:v>
                </c:pt>
                <c:pt idx="2400">
                  <c:v>84.5</c:v>
                </c:pt>
                <c:pt idx="2401">
                  <c:v>132</c:v>
                </c:pt>
                <c:pt idx="2402">
                  <c:v>139</c:v>
                </c:pt>
                <c:pt idx="2403">
                  <c:v>119.5</c:v>
                </c:pt>
                <c:pt idx="2404">
                  <c:v>86.5</c:v>
                </c:pt>
                <c:pt idx="2405">
                  <c:v>75.5</c:v>
                </c:pt>
                <c:pt idx="2406">
                  <c:v>95</c:v>
                </c:pt>
                <c:pt idx="2407">
                  <c:v>83.5</c:v>
                </c:pt>
                <c:pt idx="2408">
                  <c:v>61.5</c:v>
                </c:pt>
                <c:pt idx="2409">
                  <c:v>68</c:v>
                </c:pt>
                <c:pt idx="2410">
                  <c:v>103</c:v>
                </c:pt>
                <c:pt idx="2411">
                  <c:v>108.5</c:v>
                </c:pt>
                <c:pt idx="2412">
                  <c:v>97</c:v>
                </c:pt>
                <c:pt idx="2413">
                  <c:v>92</c:v>
                </c:pt>
                <c:pt idx="2414">
                  <c:v>80</c:v>
                </c:pt>
                <c:pt idx="2415">
                  <c:v>75.5</c:v>
                </c:pt>
                <c:pt idx="2416">
                  <c:v>92.5</c:v>
                </c:pt>
                <c:pt idx="2417">
                  <c:v>100.5</c:v>
                </c:pt>
                <c:pt idx="2418">
                  <c:v>110</c:v>
                </c:pt>
                <c:pt idx="2419">
                  <c:v>97</c:v>
                </c:pt>
                <c:pt idx="2420">
                  <c:v>104</c:v>
                </c:pt>
                <c:pt idx="2421">
                  <c:v>139</c:v>
                </c:pt>
                <c:pt idx="2422">
                  <c:v>113</c:v>
                </c:pt>
                <c:pt idx="2423">
                  <c:v>71.5</c:v>
                </c:pt>
                <c:pt idx="2424">
                  <c:v>82</c:v>
                </c:pt>
                <c:pt idx="2425">
                  <c:v>119.5</c:v>
                </c:pt>
                <c:pt idx="2426">
                  <c:v>116</c:v>
                </c:pt>
                <c:pt idx="2427">
                  <c:v>88.5</c:v>
                </c:pt>
                <c:pt idx="2428">
                  <c:v>109</c:v>
                </c:pt>
                <c:pt idx="2429">
                  <c:v>154</c:v>
                </c:pt>
                <c:pt idx="2430">
                  <c:v>161</c:v>
                </c:pt>
                <c:pt idx="2431">
                  <c:v>136.5</c:v>
                </c:pt>
                <c:pt idx="2432">
                  <c:v>102</c:v>
                </c:pt>
                <c:pt idx="2433">
                  <c:v>96</c:v>
                </c:pt>
                <c:pt idx="2434">
                  <c:v>109.5</c:v>
                </c:pt>
                <c:pt idx="2435">
                  <c:v>91</c:v>
                </c:pt>
                <c:pt idx="2436">
                  <c:v>68</c:v>
                </c:pt>
                <c:pt idx="2437">
                  <c:v>77</c:v>
                </c:pt>
                <c:pt idx="2438">
                  <c:v>47</c:v>
                </c:pt>
                <c:pt idx="2439">
                  <c:v>73.5</c:v>
                </c:pt>
                <c:pt idx="2440">
                  <c:v>82</c:v>
                </c:pt>
                <c:pt idx="2441">
                  <c:v>100.5</c:v>
                </c:pt>
                <c:pt idx="2442">
                  <c:v>115</c:v>
                </c:pt>
                <c:pt idx="2443">
                  <c:v>140</c:v>
                </c:pt>
                <c:pt idx="2444">
                  <c:v>171.5</c:v>
                </c:pt>
                <c:pt idx="2445">
                  <c:v>181.5</c:v>
                </c:pt>
                <c:pt idx="2446">
                  <c:v>173</c:v>
                </c:pt>
                <c:pt idx="2447">
                  <c:v>141</c:v>
                </c:pt>
                <c:pt idx="2448">
                  <c:v>123</c:v>
                </c:pt>
                <c:pt idx="2449">
                  <c:v>149</c:v>
                </c:pt>
                <c:pt idx="2450">
                  <c:v>149</c:v>
                </c:pt>
                <c:pt idx="2451">
                  <c:v>129</c:v>
                </c:pt>
                <c:pt idx="2452">
                  <c:v>67.5</c:v>
                </c:pt>
                <c:pt idx="2453">
                  <c:v>31</c:v>
                </c:pt>
                <c:pt idx="2454">
                  <c:v>64.5</c:v>
                </c:pt>
                <c:pt idx="2455">
                  <c:v>41</c:v>
                </c:pt>
                <c:pt idx="2456">
                  <c:v>60.5</c:v>
                </c:pt>
                <c:pt idx="2457">
                  <c:v>79.5</c:v>
                </c:pt>
                <c:pt idx="2458">
                  <c:v>83</c:v>
                </c:pt>
                <c:pt idx="2459">
                  <c:v>75</c:v>
                </c:pt>
                <c:pt idx="2460">
                  <c:v>107</c:v>
                </c:pt>
                <c:pt idx="2461">
                  <c:v>90</c:v>
                </c:pt>
                <c:pt idx="2462">
                  <c:v>89</c:v>
                </c:pt>
                <c:pt idx="2463">
                  <c:v>98</c:v>
                </c:pt>
                <c:pt idx="2464">
                  <c:v>144.5</c:v>
                </c:pt>
                <c:pt idx="2465">
                  <c:v>164</c:v>
                </c:pt>
                <c:pt idx="2466">
                  <c:v>143.5</c:v>
                </c:pt>
                <c:pt idx="2467">
                  <c:v>111</c:v>
                </c:pt>
                <c:pt idx="2468">
                  <c:v>57</c:v>
                </c:pt>
                <c:pt idx="2469">
                  <c:v>31</c:v>
                </c:pt>
                <c:pt idx="2470">
                  <c:v>112.5</c:v>
                </c:pt>
                <c:pt idx="2471">
                  <c:v>158</c:v>
                </c:pt>
                <c:pt idx="2472">
                  <c:v>152.5</c:v>
                </c:pt>
                <c:pt idx="2473">
                  <c:v>137</c:v>
                </c:pt>
                <c:pt idx="2474">
                  <c:v>142</c:v>
                </c:pt>
                <c:pt idx="2475">
                  <c:v>144.5</c:v>
                </c:pt>
                <c:pt idx="2476">
                  <c:v>132</c:v>
                </c:pt>
                <c:pt idx="2477">
                  <c:v>106</c:v>
                </c:pt>
                <c:pt idx="2478">
                  <c:v>87</c:v>
                </c:pt>
                <c:pt idx="2479">
                  <c:v>115.5</c:v>
                </c:pt>
                <c:pt idx="2480">
                  <c:v>155</c:v>
                </c:pt>
                <c:pt idx="2481">
                  <c:v>147.5</c:v>
                </c:pt>
                <c:pt idx="2482">
                  <c:v>124</c:v>
                </c:pt>
                <c:pt idx="2483">
                  <c:v>78</c:v>
                </c:pt>
                <c:pt idx="2484">
                  <c:v>45</c:v>
                </c:pt>
                <c:pt idx="2485">
                  <c:v>94.5</c:v>
                </c:pt>
                <c:pt idx="2486">
                  <c:v>117.5</c:v>
                </c:pt>
                <c:pt idx="2487">
                  <c:v>108.5</c:v>
                </c:pt>
                <c:pt idx="2488">
                  <c:v>74</c:v>
                </c:pt>
                <c:pt idx="2489">
                  <c:v>44</c:v>
                </c:pt>
                <c:pt idx="2490">
                  <c:v>52.5</c:v>
                </c:pt>
                <c:pt idx="2491">
                  <c:v>101</c:v>
                </c:pt>
                <c:pt idx="2492">
                  <c:v>135.5</c:v>
                </c:pt>
                <c:pt idx="2493">
                  <c:v>128.5</c:v>
                </c:pt>
                <c:pt idx="2494">
                  <c:v>86</c:v>
                </c:pt>
                <c:pt idx="2495">
                  <c:v>61</c:v>
                </c:pt>
                <c:pt idx="2496">
                  <c:v>46.5</c:v>
                </c:pt>
                <c:pt idx="2497">
                  <c:v>61.5</c:v>
                </c:pt>
                <c:pt idx="2498">
                  <c:v>114.5</c:v>
                </c:pt>
                <c:pt idx="2499">
                  <c:v>147</c:v>
                </c:pt>
                <c:pt idx="2500">
                  <c:v>88</c:v>
                </c:pt>
                <c:pt idx="2501">
                  <c:v>51.5</c:v>
                </c:pt>
                <c:pt idx="2502">
                  <c:v>136.5</c:v>
                </c:pt>
                <c:pt idx="2503">
                  <c:v>137</c:v>
                </c:pt>
                <c:pt idx="2504">
                  <c:v>74</c:v>
                </c:pt>
                <c:pt idx="2505">
                  <c:v>75.5</c:v>
                </c:pt>
                <c:pt idx="2506">
                  <c:v>115</c:v>
                </c:pt>
                <c:pt idx="2507">
                  <c:v>124</c:v>
                </c:pt>
                <c:pt idx="2508">
                  <c:v>84.5</c:v>
                </c:pt>
                <c:pt idx="2509">
                  <c:v>17.5</c:v>
                </c:pt>
                <c:pt idx="2510">
                  <c:v>65</c:v>
                </c:pt>
                <c:pt idx="2511">
                  <c:v>67</c:v>
                </c:pt>
                <c:pt idx="2512">
                  <c:v>52.5</c:v>
                </c:pt>
                <c:pt idx="2513">
                  <c:v>46</c:v>
                </c:pt>
                <c:pt idx="2514">
                  <c:v>39.5</c:v>
                </c:pt>
                <c:pt idx="2515">
                  <c:v>56</c:v>
                </c:pt>
                <c:pt idx="2516">
                  <c:v>63</c:v>
                </c:pt>
                <c:pt idx="2517">
                  <c:v>105.5</c:v>
                </c:pt>
                <c:pt idx="2518">
                  <c:v>155</c:v>
                </c:pt>
                <c:pt idx="2519">
                  <c:v>134.5</c:v>
                </c:pt>
                <c:pt idx="2520">
                  <c:v>85</c:v>
                </c:pt>
                <c:pt idx="2521">
                  <c:v>78</c:v>
                </c:pt>
                <c:pt idx="2522">
                  <c:v>88</c:v>
                </c:pt>
                <c:pt idx="2523">
                  <c:v>110</c:v>
                </c:pt>
                <c:pt idx="2524">
                  <c:v>77.5</c:v>
                </c:pt>
                <c:pt idx="2525">
                  <c:v>53.5</c:v>
                </c:pt>
                <c:pt idx="2526">
                  <c:v>78.5</c:v>
                </c:pt>
                <c:pt idx="2527">
                  <c:v>122.5</c:v>
                </c:pt>
                <c:pt idx="2528">
                  <c:v>142.5</c:v>
                </c:pt>
                <c:pt idx="2529">
                  <c:v>139</c:v>
                </c:pt>
                <c:pt idx="2530">
                  <c:v>132.5</c:v>
                </c:pt>
                <c:pt idx="2531">
                  <c:v>145</c:v>
                </c:pt>
                <c:pt idx="2532">
                  <c:v>149.5</c:v>
                </c:pt>
                <c:pt idx="2533">
                  <c:v>124.5</c:v>
                </c:pt>
                <c:pt idx="2534">
                  <c:v>117</c:v>
                </c:pt>
                <c:pt idx="2535">
                  <c:v>120</c:v>
                </c:pt>
                <c:pt idx="2536">
                  <c:v>76</c:v>
                </c:pt>
                <c:pt idx="2537">
                  <c:v>91</c:v>
                </c:pt>
                <c:pt idx="2538">
                  <c:v>111</c:v>
                </c:pt>
                <c:pt idx="2539">
                  <c:v>105</c:v>
                </c:pt>
                <c:pt idx="2540">
                  <c:v>66.5</c:v>
                </c:pt>
                <c:pt idx="2541">
                  <c:v>66</c:v>
                </c:pt>
                <c:pt idx="2542">
                  <c:v>47.5</c:v>
                </c:pt>
                <c:pt idx="2543">
                  <c:v>79.5</c:v>
                </c:pt>
                <c:pt idx="2544">
                  <c:v>116.5</c:v>
                </c:pt>
                <c:pt idx="2545">
                  <c:v>84.5</c:v>
                </c:pt>
                <c:pt idx="2546">
                  <c:v>68.5</c:v>
                </c:pt>
                <c:pt idx="2547">
                  <c:v>150</c:v>
                </c:pt>
                <c:pt idx="2548">
                  <c:v>183.5</c:v>
                </c:pt>
                <c:pt idx="2549">
                  <c:v>167</c:v>
                </c:pt>
                <c:pt idx="2550">
                  <c:v>119</c:v>
                </c:pt>
                <c:pt idx="2551">
                  <c:v>74.5</c:v>
                </c:pt>
                <c:pt idx="2552">
                  <c:v>71.5</c:v>
                </c:pt>
                <c:pt idx="2553">
                  <c:v>84.5</c:v>
                </c:pt>
                <c:pt idx="2554">
                  <c:v>83.5</c:v>
                </c:pt>
                <c:pt idx="2555">
                  <c:v>76</c:v>
                </c:pt>
                <c:pt idx="2556">
                  <c:v>70</c:v>
                </c:pt>
                <c:pt idx="2557">
                  <c:v>44.5</c:v>
                </c:pt>
                <c:pt idx="2558">
                  <c:v>58.5</c:v>
                </c:pt>
                <c:pt idx="2559">
                  <c:v>94.5</c:v>
                </c:pt>
                <c:pt idx="2560">
                  <c:v>102</c:v>
                </c:pt>
                <c:pt idx="2561">
                  <c:v>68.5</c:v>
                </c:pt>
                <c:pt idx="2562">
                  <c:v>52.5</c:v>
                </c:pt>
                <c:pt idx="2563">
                  <c:v>71</c:v>
                </c:pt>
                <c:pt idx="2564">
                  <c:v>80</c:v>
                </c:pt>
                <c:pt idx="2565">
                  <c:v>88</c:v>
                </c:pt>
                <c:pt idx="2566">
                  <c:v>77.5</c:v>
                </c:pt>
                <c:pt idx="2567">
                  <c:v>58.5</c:v>
                </c:pt>
                <c:pt idx="2568">
                  <c:v>78</c:v>
                </c:pt>
                <c:pt idx="2569">
                  <c:v>91</c:v>
                </c:pt>
                <c:pt idx="2570">
                  <c:v>83.5</c:v>
                </c:pt>
                <c:pt idx="2571">
                  <c:v>114</c:v>
                </c:pt>
                <c:pt idx="2572">
                  <c:v>141.5</c:v>
                </c:pt>
                <c:pt idx="2573">
                  <c:v>127</c:v>
                </c:pt>
                <c:pt idx="2574">
                  <c:v>127</c:v>
                </c:pt>
                <c:pt idx="2575">
                  <c:v>173</c:v>
                </c:pt>
                <c:pt idx="2576">
                  <c:v>221.5</c:v>
                </c:pt>
                <c:pt idx="2577">
                  <c:v>215.5</c:v>
                </c:pt>
                <c:pt idx="2578">
                  <c:v>144</c:v>
                </c:pt>
                <c:pt idx="2579">
                  <c:v>58.5</c:v>
                </c:pt>
                <c:pt idx="2580">
                  <c:v>58</c:v>
                </c:pt>
                <c:pt idx="2581">
                  <c:v>71.5</c:v>
                </c:pt>
                <c:pt idx="2582">
                  <c:v>84</c:v>
                </c:pt>
                <c:pt idx="2583">
                  <c:v>80</c:v>
                </c:pt>
                <c:pt idx="2584">
                  <c:v>59</c:v>
                </c:pt>
                <c:pt idx="2585">
                  <c:v>46</c:v>
                </c:pt>
                <c:pt idx="2586">
                  <c:v>63</c:v>
                </c:pt>
                <c:pt idx="2587">
                  <c:v>58.5</c:v>
                </c:pt>
                <c:pt idx="2588">
                  <c:v>42.5</c:v>
                </c:pt>
                <c:pt idx="2589">
                  <c:v>98</c:v>
                </c:pt>
                <c:pt idx="2590">
                  <c:v>108</c:v>
                </c:pt>
                <c:pt idx="2591">
                  <c:v>87.5</c:v>
                </c:pt>
                <c:pt idx="2592">
                  <c:v>88.5</c:v>
                </c:pt>
                <c:pt idx="2593">
                  <c:v>164.5</c:v>
                </c:pt>
                <c:pt idx="2594">
                  <c:v>200.5</c:v>
                </c:pt>
                <c:pt idx="2595">
                  <c:v>155.5</c:v>
                </c:pt>
                <c:pt idx="2596">
                  <c:v>109.5</c:v>
                </c:pt>
                <c:pt idx="2597">
                  <c:v>81.5</c:v>
                </c:pt>
                <c:pt idx="2598">
                  <c:v>67</c:v>
                </c:pt>
                <c:pt idx="2599">
                  <c:v>86.5</c:v>
                </c:pt>
                <c:pt idx="2600">
                  <c:v>119.5</c:v>
                </c:pt>
                <c:pt idx="2601">
                  <c:v>128.5</c:v>
                </c:pt>
                <c:pt idx="2602">
                  <c:v>167.5</c:v>
                </c:pt>
                <c:pt idx="2603">
                  <c:v>181.5</c:v>
                </c:pt>
                <c:pt idx="2604">
                  <c:v>159.5</c:v>
                </c:pt>
                <c:pt idx="2605">
                  <c:v>97.5</c:v>
                </c:pt>
                <c:pt idx="2606">
                  <c:v>73.5</c:v>
                </c:pt>
                <c:pt idx="2607">
                  <c:v>126</c:v>
                </c:pt>
                <c:pt idx="2608">
                  <c:v>156</c:v>
                </c:pt>
                <c:pt idx="2609">
                  <c:v>120</c:v>
                </c:pt>
                <c:pt idx="2610">
                  <c:v>101</c:v>
                </c:pt>
                <c:pt idx="2611">
                  <c:v>107.5</c:v>
                </c:pt>
                <c:pt idx="2612">
                  <c:v>91.5</c:v>
                </c:pt>
                <c:pt idx="2613">
                  <c:v>85.5</c:v>
                </c:pt>
                <c:pt idx="2614">
                  <c:v>131.5</c:v>
                </c:pt>
                <c:pt idx="2615">
                  <c:v>179</c:v>
                </c:pt>
                <c:pt idx="2616">
                  <c:v>212.5</c:v>
                </c:pt>
                <c:pt idx="2617">
                  <c:v>199.5</c:v>
                </c:pt>
                <c:pt idx="2618">
                  <c:v>126.5</c:v>
                </c:pt>
                <c:pt idx="2619">
                  <c:v>103.5</c:v>
                </c:pt>
                <c:pt idx="2620">
                  <c:v>143</c:v>
                </c:pt>
                <c:pt idx="2621">
                  <c:v>158.5</c:v>
                </c:pt>
                <c:pt idx="2622">
                  <c:v>155.5</c:v>
                </c:pt>
                <c:pt idx="2623">
                  <c:v>127</c:v>
                </c:pt>
                <c:pt idx="2624">
                  <c:v>128</c:v>
                </c:pt>
                <c:pt idx="2625">
                  <c:v>206.5</c:v>
                </c:pt>
                <c:pt idx="2626">
                  <c:v>251</c:v>
                </c:pt>
                <c:pt idx="2627">
                  <c:v>255</c:v>
                </c:pt>
                <c:pt idx="2628">
                  <c:v>237.5</c:v>
                </c:pt>
                <c:pt idx="2629">
                  <c:v>151</c:v>
                </c:pt>
                <c:pt idx="2630">
                  <c:v>67.5</c:v>
                </c:pt>
                <c:pt idx="2631">
                  <c:v>169</c:v>
                </c:pt>
                <c:pt idx="2632">
                  <c:v>184.5</c:v>
                </c:pt>
                <c:pt idx="2633">
                  <c:v>163.5</c:v>
                </c:pt>
                <c:pt idx="2634">
                  <c:v>137</c:v>
                </c:pt>
                <c:pt idx="2635">
                  <c:v>102.5</c:v>
                </c:pt>
                <c:pt idx="2636">
                  <c:v>79.5</c:v>
                </c:pt>
                <c:pt idx="2637">
                  <c:v>71.5</c:v>
                </c:pt>
                <c:pt idx="2638">
                  <c:v>90.5</c:v>
                </c:pt>
                <c:pt idx="2639">
                  <c:v>81</c:v>
                </c:pt>
                <c:pt idx="2640">
                  <c:v>101</c:v>
                </c:pt>
                <c:pt idx="2641">
                  <c:v>114</c:v>
                </c:pt>
                <c:pt idx="2642">
                  <c:v>88.5</c:v>
                </c:pt>
                <c:pt idx="2643">
                  <c:v>92</c:v>
                </c:pt>
                <c:pt idx="2644">
                  <c:v>103</c:v>
                </c:pt>
                <c:pt idx="2645">
                  <c:v>127.5</c:v>
                </c:pt>
                <c:pt idx="2646">
                  <c:v>143.5</c:v>
                </c:pt>
                <c:pt idx="2647">
                  <c:v>120.5</c:v>
                </c:pt>
                <c:pt idx="2648">
                  <c:v>111</c:v>
                </c:pt>
                <c:pt idx="2649">
                  <c:v>133</c:v>
                </c:pt>
                <c:pt idx="2650">
                  <c:v>146</c:v>
                </c:pt>
                <c:pt idx="2651">
                  <c:v>140.5</c:v>
                </c:pt>
                <c:pt idx="2652">
                  <c:v>102.5</c:v>
                </c:pt>
                <c:pt idx="2653">
                  <c:v>36.5</c:v>
                </c:pt>
                <c:pt idx="2654">
                  <c:v>53.5</c:v>
                </c:pt>
                <c:pt idx="2655">
                  <c:v>105</c:v>
                </c:pt>
                <c:pt idx="2656">
                  <c:v>130</c:v>
                </c:pt>
                <c:pt idx="2657">
                  <c:v>131</c:v>
                </c:pt>
                <c:pt idx="2658">
                  <c:v>102.5</c:v>
                </c:pt>
                <c:pt idx="2659">
                  <c:v>110.5</c:v>
                </c:pt>
                <c:pt idx="2660">
                  <c:v>126.5</c:v>
                </c:pt>
                <c:pt idx="2661">
                  <c:v>155.5</c:v>
                </c:pt>
                <c:pt idx="2662">
                  <c:v>115</c:v>
                </c:pt>
                <c:pt idx="2663">
                  <c:v>64.5</c:v>
                </c:pt>
                <c:pt idx="2664">
                  <c:v>80</c:v>
                </c:pt>
                <c:pt idx="2665">
                  <c:v>73.5</c:v>
                </c:pt>
                <c:pt idx="2666">
                  <c:v>70</c:v>
                </c:pt>
                <c:pt idx="2667">
                  <c:v>101.5</c:v>
                </c:pt>
                <c:pt idx="2668">
                  <c:v>84</c:v>
                </c:pt>
                <c:pt idx="2669">
                  <c:v>78</c:v>
                </c:pt>
                <c:pt idx="2670">
                  <c:v>102.5</c:v>
                </c:pt>
                <c:pt idx="2671">
                  <c:v>122</c:v>
                </c:pt>
                <c:pt idx="2672">
                  <c:v>164.5</c:v>
                </c:pt>
                <c:pt idx="2673">
                  <c:v>144.5</c:v>
                </c:pt>
                <c:pt idx="2674">
                  <c:v>70.5</c:v>
                </c:pt>
                <c:pt idx="2675">
                  <c:v>27</c:v>
                </c:pt>
                <c:pt idx="2676">
                  <c:v>103.5</c:v>
                </c:pt>
                <c:pt idx="2677">
                  <c:v>158.5</c:v>
                </c:pt>
                <c:pt idx="2678">
                  <c:v>145.5</c:v>
                </c:pt>
                <c:pt idx="2679">
                  <c:v>104</c:v>
                </c:pt>
                <c:pt idx="2680">
                  <c:v>94</c:v>
                </c:pt>
                <c:pt idx="2681">
                  <c:v>138.5</c:v>
                </c:pt>
                <c:pt idx="2682">
                  <c:v>133.5</c:v>
                </c:pt>
                <c:pt idx="2683">
                  <c:v>94.5</c:v>
                </c:pt>
                <c:pt idx="2684">
                  <c:v>90.5</c:v>
                </c:pt>
                <c:pt idx="2685">
                  <c:v>111.5</c:v>
                </c:pt>
                <c:pt idx="2686">
                  <c:v>71</c:v>
                </c:pt>
                <c:pt idx="2687">
                  <c:v>59</c:v>
                </c:pt>
                <c:pt idx="2688">
                  <c:v>102.5</c:v>
                </c:pt>
                <c:pt idx="2689">
                  <c:v>107</c:v>
                </c:pt>
                <c:pt idx="2690">
                  <c:v>105.5</c:v>
                </c:pt>
                <c:pt idx="2691">
                  <c:v>119</c:v>
                </c:pt>
                <c:pt idx="2692">
                  <c:v>108.5</c:v>
                </c:pt>
                <c:pt idx="2693">
                  <c:v>112.5</c:v>
                </c:pt>
                <c:pt idx="2694">
                  <c:v>151.5</c:v>
                </c:pt>
                <c:pt idx="2695">
                  <c:v>139</c:v>
                </c:pt>
                <c:pt idx="2696">
                  <c:v>115</c:v>
                </c:pt>
                <c:pt idx="2697">
                  <c:v>97</c:v>
                </c:pt>
                <c:pt idx="2698">
                  <c:v>62.5</c:v>
                </c:pt>
                <c:pt idx="2699">
                  <c:v>106.5</c:v>
                </c:pt>
                <c:pt idx="2700">
                  <c:v>125.5</c:v>
                </c:pt>
                <c:pt idx="2701">
                  <c:v>71</c:v>
                </c:pt>
                <c:pt idx="2702">
                  <c:v>61</c:v>
                </c:pt>
                <c:pt idx="2703">
                  <c:v>107</c:v>
                </c:pt>
                <c:pt idx="2704">
                  <c:v>105</c:v>
                </c:pt>
                <c:pt idx="2705">
                  <c:v>126.5</c:v>
                </c:pt>
                <c:pt idx="2706">
                  <c:v>138</c:v>
                </c:pt>
                <c:pt idx="2707">
                  <c:v>128.5</c:v>
                </c:pt>
                <c:pt idx="2708">
                  <c:v>101</c:v>
                </c:pt>
                <c:pt idx="2709">
                  <c:v>85</c:v>
                </c:pt>
                <c:pt idx="2710">
                  <c:v>88</c:v>
                </c:pt>
                <c:pt idx="2711">
                  <c:v>161</c:v>
                </c:pt>
                <c:pt idx="2712">
                  <c:v>165.5</c:v>
                </c:pt>
                <c:pt idx="2713">
                  <c:v>139.5</c:v>
                </c:pt>
                <c:pt idx="2714">
                  <c:v>146.5</c:v>
                </c:pt>
                <c:pt idx="2715">
                  <c:v>109.5</c:v>
                </c:pt>
                <c:pt idx="2716">
                  <c:v>94.5</c:v>
                </c:pt>
                <c:pt idx="2717">
                  <c:v>136</c:v>
                </c:pt>
                <c:pt idx="2718">
                  <c:v>161.5</c:v>
                </c:pt>
                <c:pt idx="2719">
                  <c:v>148.5</c:v>
                </c:pt>
                <c:pt idx="2720">
                  <c:v>111</c:v>
                </c:pt>
                <c:pt idx="2721">
                  <c:v>74.5</c:v>
                </c:pt>
                <c:pt idx="2722">
                  <c:v>88.5</c:v>
                </c:pt>
                <c:pt idx="2723">
                  <c:v>125.5</c:v>
                </c:pt>
                <c:pt idx="2724">
                  <c:v>104</c:v>
                </c:pt>
                <c:pt idx="2725">
                  <c:v>99.5</c:v>
                </c:pt>
                <c:pt idx="2726">
                  <c:v>96.5</c:v>
                </c:pt>
                <c:pt idx="2727">
                  <c:v>101</c:v>
                </c:pt>
                <c:pt idx="2728">
                  <c:v>57.5</c:v>
                </c:pt>
                <c:pt idx="2729">
                  <c:v>83</c:v>
                </c:pt>
                <c:pt idx="2730">
                  <c:v>119</c:v>
                </c:pt>
                <c:pt idx="2731">
                  <c:v>88.5</c:v>
                </c:pt>
                <c:pt idx="2732">
                  <c:v>43.5</c:v>
                </c:pt>
                <c:pt idx="2733">
                  <c:v>100.5</c:v>
                </c:pt>
                <c:pt idx="2734">
                  <c:v>109</c:v>
                </c:pt>
                <c:pt idx="2735">
                  <c:v>75.5</c:v>
                </c:pt>
                <c:pt idx="2736">
                  <c:v>70</c:v>
                </c:pt>
                <c:pt idx="2737">
                  <c:v>96.5</c:v>
                </c:pt>
                <c:pt idx="2738">
                  <c:v>93</c:v>
                </c:pt>
                <c:pt idx="2739">
                  <c:v>116.5</c:v>
                </c:pt>
                <c:pt idx="2740">
                  <c:v>127.5</c:v>
                </c:pt>
                <c:pt idx="2741">
                  <c:v>111.5</c:v>
                </c:pt>
                <c:pt idx="2742">
                  <c:v>162</c:v>
                </c:pt>
                <c:pt idx="2743">
                  <c:v>209</c:v>
                </c:pt>
                <c:pt idx="2744">
                  <c:v>226</c:v>
                </c:pt>
                <c:pt idx="2745">
                  <c:v>186.5</c:v>
                </c:pt>
                <c:pt idx="2746">
                  <c:v>132</c:v>
                </c:pt>
                <c:pt idx="2747">
                  <c:v>91</c:v>
                </c:pt>
                <c:pt idx="2748">
                  <c:v>67.5</c:v>
                </c:pt>
                <c:pt idx="2749">
                  <c:v>64</c:v>
                </c:pt>
                <c:pt idx="2750">
                  <c:v>85</c:v>
                </c:pt>
                <c:pt idx="2751">
                  <c:v>114.5</c:v>
                </c:pt>
                <c:pt idx="2752">
                  <c:v>112.5</c:v>
                </c:pt>
                <c:pt idx="2753">
                  <c:v>117.5</c:v>
                </c:pt>
                <c:pt idx="2754">
                  <c:v>140</c:v>
                </c:pt>
                <c:pt idx="2755">
                  <c:v>137.5</c:v>
                </c:pt>
                <c:pt idx="2756">
                  <c:v>109</c:v>
                </c:pt>
                <c:pt idx="2757">
                  <c:v>84.5</c:v>
                </c:pt>
                <c:pt idx="2758">
                  <c:v>56.5</c:v>
                </c:pt>
                <c:pt idx="2759">
                  <c:v>72.5</c:v>
                </c:pt>
                <c:pt idx="2760">
                  <c:v>103.5</c:v>
                </c:pt>
                <c:pt idx="2761">
                  <c:v>82.5</c:v>
                </c:pt>
                <c:pt idx="2762">
                  <c:v>60.5</c:v>
                </c:pt>
                <c:pt idx="2763">
                  <c:v>55.5</c:v>
                </c:pt>
                <c:pt idx="2764">
                  <c:v>65.5</c:v>
                </c:pt>
                <c:pt idx="2765">
                  <c:v>149.5</c:v>
                </c:pt>
                <c:pt idx="2766">
                  <c:v>158.5</c:v>
                </c:pt>
                <c:pt idx="2767">
                  <c:v>90</c:v>
                </c:pt>
                <c:pt idx="2768">
                  <c:v>120</c:v>
                </c:pt>
                <c:pt idx="2769">
                  <c:v>188.5</c:v>
                </c:pt>
                <c:pt idx="2770">
                  <c:v>206</c:v>
                </c:pt>
                <c:pt idx="2771">
                  <c:v>211</c:v>
                </c:pt>
                <c:pt idx="2772">
                  <c:v>203</c:v>
                </c:pt>
                <c:pt idx="2773">
                  <c:v>176</c:v>
                </c:pt>
                <c:pt idx="2774">
                  <c:v>121</c:v>
                </c:pt>
                <c:pt idx="2775">
                  <c:v>102</c:v>
                </c:pt>
                <c:pt idx="2776">
                  <c:v>138</c:v>
                </c:pt>
                <c:pt idx="2777">
                  <c:v>178</c:v>
                </c:pt>
                <c:pt idx="2778">
                  <c:v>200.5</c:v>
                </c:pt>
                <c:pt idx="2779">
                  <c:v>201.5</c:v>
                </c:pt>
                <c:pt idx="2780">
                  <c:v>198.5</c:v>
                </c:pt>
                <c:pt idx="2781">
                  <c:v>176.5</c:v>
                </c:pt>
                <c:pt idx="2782">
                  <c:v>167</c:v>
                </c:pt>
                <c:pt idx="2783">
                  <c:v>109</c:v>
                </c:pt>
                <c:pt idx="2784">
                  <c:v>62.5</c:v>
                </c:pt>
                <c:pt idx="2785">
                  <c:v>139</c:v>
                </c:pt>
                <c:pt idx="2786">
                  <c:v>170.5</c:v>
                </c:pt>
                <c:pt idx="2787">
                  <c:v>149.5</c:v>
                </c:pt>
                <c:pt idx="2788">
                  <c:v>83</c:v>
                </c:pt>
                <c:pt idx="2789">
                  <c:v>76</c:v>
                </c:pt>
                <c:pt idx="2790">
                  <c:v>135</c:v>
                </c:pt>
                <c:pt idx="2791">
                  <c:v>122.5</c:v>
                </c:pt>
                <c:pt idx="2792">
                  <c:v>87</c:v>
                </c:pt>
                <c:pt idx="2793">
                  <c:v>58</c:v>
                </c:pt>
                <c:pt idx="2794">
                  <c:v>103.5</c:v>
                </c:pt>
                <c:pt idx="2795">
                  <c:v>75.5</c:v>
                </c:pt>
                <c:pt idx="2796">
                  <c:v>43.5</c:v>
                </c:pt>
                <c:pt idx="2797">
                  <c:v>81</c:v>
                </c:pt>
                <c:pt idx="2798">
                  <c:v>103.5</c:v>
                </c:pt>
                <c:pt idx="2799">
                  <c:v>108</c:v>
                </c:pt>
                <c:pt idx="2800">
                  <c:v>76.5</c:v>
                </c:pt>
                <c:pt idx="2801">
                  <c:v>75.5</c:v>
                </c:pt>
                <c:pt idx="2802">
                  <c:v>87.5</c:v>
                </c:pt>
                <c:pt idx="2803">
                  <c:v>74</c:v>
                </c:pt>
                <c:pt idx="2804">
                  <c:v>99.5</c:v>
                </c:pt>
                <c:pt idx="2805">
                  <c:v>132.5</c:v>
                </c:pt>
                <c:pt idx="2806">
                  <c:v>93.5</c:v>
                </c:pt>
                <c:pt idx="2807">
                  <c:v>177.5</c:v>
                </c:pt>
                <c:pt idx="2808">
                  <c:v>228.5</c:v>
                </c:pt>
                <c:pt idx="2809">
                  <c:v>218.5</c:v>
                </c:pt>
                <c:pt idx="2810">
                  <c:v>145</c:v>
                </c:pt>
                <c:pt idx="2811">
                  <c:v>80.5</c:v>
                </c:pt>
                <c:pt idx="2812">
                  <c:v>61</c:v>
                </c:pt>
                <c:pt idx="2813">
                  <c:v>78.5</c:v>
                </c:pt>
                <c:pt idx="2814">
                  <c:v>115</c:v>
                </c:pt>
                <c:pt idx="2815">
                  <c:v>132</c:v>
                </c:pt>
                <c:pt idx="2816">
                  <c:v>135</c:v>
                </c:pt>
                <c:pt idx="2817">
                  <c:v>98.5</c:v>
                </c:pt>
                <c:pt idx="2818">
                  <c:v>164.5</c:v>
                </c:pt>
                <c:pt idx="2819">
                  <c:v>172</c:v>
                </c:pt>
                <c:pt idx="2820">
                  <c:v>106.5</c:v>
                </c:pt>
                <c:pt idx="2821">
                  <c:v>82.5</c:v>
                </c:pt>
                <c:pt idx="2822">
                  <c:v>118</c:v>
                </c:pt>
                <c:pt idx="2823">
                  <c:v>126</c:v>
                </c:pt>
                <c:pt idx="2824">
                  <c:v>88</c:v>
                </c:pt>
                <c:pt idx="2825">
                  <c:v>87</c:v>
                </c:pt>
                <c:pt idx="2826">
                  <c:v>132.5</c:v>
                </c:pt>
                <c:pt idx="2827">
                  <c:v>130</c:v>
                </c:pt>
                <c:pt idx="2828">
                  <c:v>89</c:v>
                </c:pt>
                <c:pt idx="2829">
                  <c:v>100</c:v>
                </c:pt>
                <c:pt idx="2830">
                  <c:v>90.5</c:v>
                </c:pt>
                <c:pt idx="2831">
                  <c:v>59.5</c:v>
                </c:pt>
                <c:pt idx="2832">
                  <c:v>90</c:v>
                </c:pt>
                <c:pt idx="2833">
                  <c:v>144</c:v>
                </c:pt>
                <c:pt idx="2834">
                  <c:v>205</c:v>
                </c:pt>
                <c:pt idx="2835">
                  <c:v>215.5</c:v>
                </c:pt>
                <c:pt idx="2836">
                  <c:v>179.5</c:v>
                </c:pt>
                <c:pt idx="2837">
                  <c:v>141</c:v>
                </c:pt>
                <c:pt idx="2838">
                  <c:v>110</c:v>
                </c:pt>
                <c:pt idx="2839">
                  <c:v>119.5</c:v>
                </c:pt>
                <c:pt idx="2840">
                  <c:v>122</c:v>
                </c:pt>
                <c:pt idx="2841">
                  <c:v>112.5</c:v>
                </c:pt>
                <c:pt idx="2842">
                  <c:v>138.5</c:v>
                </c:pt>
                <c:pt idx="2843">
                  <c:v>154</c:v>
                </c:pt>
                <c:pt idx="2844">
                  <c:v>146</c:v>
                </c:pt>
                <c:pt idx="2845">
                  <c:v>104.5</c:v>
                </c:pt>
                <c:pt idx="2846">
                  <c:v>99</c:v>
                </c:pt>
                <c:pt idx="2847">
                  <c:v>114.5</c:v>
                </c:pt>
                <c:pt idx="2848">
                  <c:v>118.5</c:v>
                </c:pt>
                <c:pt idx="2849">
                  <c:v>106</c:v>
                </c:pt>
                <c:pt idx="2850">
                  <c:v>178</c:v>
                </c:pt>
                <c:pt idx="2851">
                  <c:v>235</c:v>
                </c:pt>
                <c:pt idx="2852">
                  <c:v>187</c:v>
                </c:pt>
                <c:pt idx="2853">
                  <c:v>124.5</c:v>
                </c:pt>
                <c:pt idx="2854">
                  <c:v>87</c:v>
                </c:pt>
                <c:pt idx="2855">
                  <c:v>60.5</c:v>
                </c:pt>
                <c:pt idx="2856">
                  <c:v>82.5</c:v>
                </c:pt>
                <c:pt idx="2857">
                  <c:v>208</c:v>
                </c:pt>
                <c:pt idx="2858">
                  <c:v>367.5</c:v>
                </c:pt>
                <c:pt idx="2859">
                  <c:v>406</c:v>
                </c:pt>
                <c:pt idx="2860">
                  <c:v>280</c:v>
                </c:pt>
                <c:pt idx="2861">
                  <c:v>114.5</c:v>
                </c:pt>
                <c:pt idx="2862">
                  <c:v>88</c:v>
                </c:pt>
                <c:pt idx="2863">
                  <c:v>115.5</c:v>
                </c:pt>
                <c:pt idx="2864">
                  <c:v>125</c:v>
                </c:pt>
                <c:pt idx="2865">
                  <c:v>122.5</c:v>
                </c:pt>
                <c:pt idx="2866">
                  <c:v>146.5</c:v>
                </c:pt>
                <c:pt idx="2867">
                  <c:v>181</c:v>
                </c:pt>
                <c:pt idx="2868">
                  <c:v>189.5</c:v>
                </c:pt>
                <c:pt idx="2869">
                  <c:v>141</c:v>
                </c:pt>
                <c:pt idx="2870">
                  <c:v>89</c:v>
                </c:pt>
                <c:pt idx="2871">
                  <c:v>128</c:v>
                </c:pt>
                <c:pt idx="2872">
                  <c:v>137</c:v>
                </c:pt>
                <c:pt idx="2873">
                  <c:v>106</c:v>
                </c:pt>
                <c:pt idx="2874">
                  <c:v>100</c:v>
                </c:pt>
                <c:pt idx="2875">
                  <c:v>107.5</c:v>
                </c:pt>
                <c:pt idx="2876">
                  <c:v>95.5</c:v>
                </c:pt>
                <c:pt idx="2877">
                  <c:v>116</c:v>
                </c:pt>
                <c:pt idx="2878">
                  <c:v>180</c:v>
                </c:pt>
                <c:pt idx="2879">
                  <c:v>169</c:v>
                </c:pt>
                <c:pt idx="2880">
                  <c:v>112.5</c:v>
                </c:pt>
                <c:pt idx="2881">
                  <c:v>60.5</c:v>
                </c:pt>
                <c:pt idx="2882">
                  <c:v>37.5</c:v>
                </c:pt>
                <c:pt idx="2883">
                  <c:v>60</c:v>
                </c:pt>
                <c:pt idx="2884">
                  <c:v>60.5</c:v>
                </c:pt>
                <c:pt idx="2885">
                  <c:v>70.5</c:v>
                </c:pt>
                <c:pt idx="2886">
                  <c:v>101</c:v>
                </c:pt>
                <c:pt idx="2887">
                  <c:v>117.5</c:v>
                </c:pt>
                <c:pt idx="2888">
                  <c:v>102</c:v>
                </c:pt>
                <c:pt idx="2889">
                  <c:v>128.5</c:v>
                </c:pt>
                <c:pt idx="2890">
                  <c:v>167.5</c:v>
                </c:pt>
                <c:pt idx="2891">
                  <c:v>178.5</c:v>
                </c:pt>
                <c:pt idx="2892">
                  <c:v>147</c:v>
                </c:pt>
                <c:pt idx="2893">
                  <c:v>116.5</c:v>
                </c:pt>
                <c:pt idx="2894">
                  <c:v>135.5</c:v>
                </c:pt>
                <c:pt idx="2895">
                  <c:v>126</c:v>
                </c:pt>
                <c:pt idx="2896">
                  <c:v>142</c:v>
                </c:pt>
                <c:pt idx="2897">
                  <c:v>157.5</c:v>
                </c:pt>
                <c:pt idx="2898">
                  <c:v>173.5</c:v>
                </c:pt>
                <c:pt idx="2899">
                  <c:v>185.5</c:v>
                </c:pt>
                <c:pt idx="2900">
                  <c:v>172</c:v>
                </c:pt>
                <c:pt idx="2901">
                  <c:v>104.5</c:v>
                </c:pt>
                <c:pt idx="2902">
                  <c:v>98</c:v>
                </c:pt>
                <c:pt idx="2903">
                  <c:v>145</c:v>
                </c:pt>
                <c:pt idx="2904">
                  <c:v>245.5</c:v>
                </c:pt>
                <c:pt idx="2905">
                  <c:v>275.5</c:v>
                </c:pt>
                <c:pt idx="2906">
                  <c:v>223</c:v>
                </c:pt>
                <c:pt idx="2907">
                  <c:v>205</c:v>
                </c:pt>
                <c:pt idx="2908">
                  <c:v>175.5</c:v>
                </c:pt>
                <c:pt idx="2909">
                  <c:v>174</c:v>
                </c:pt>
                <c:pt idx="2910">
                  <c:v>193.5</c:v>
                </c:pt>
                <c:pt idx="2911">
                  <c:v>219</c:v>
                </c:pt>
                <c:pt idx="2912">
                  <c:v>232</c:v>
                </c:pt>
                <c:pt idx="2913">
                  <c:v>223</c:v>
                </c:pt>
                <c:pt idx="2914">
                  <c:v>179</c:v>
                </c:pt>
                <c:pt idx="2915">
                  <c:v>154.5</c:v>
                </c:pt>
                <c:pt idx="2916">
                  <c:v>102.5</c:v>
                </c:pt>
                <c:pt idx="2917">
                  <c:v>73</c:v>
                </c:pt>
                <c:pt idx="2918">
                  <c:v>171</c:v>
                </c:pt>
                <c:pt idx="2919">
                  <c:v>226</c:v>
                </c:pt>
                <c:pt idx="2920">
                  <c:v>201</c:v>
                </c:pt>
                <c:pt idx="2921">
                  <c:v>130</c:v>
                </c:pt>
                <c:pt idx="2922">
                  <c:v>65.5</c:v>
                </c:pt>
                <c:pt idx="2923">
                  <c:v>86</c:v>
                </c:pt>
                <c:pt idx="2924">
                  <c:v>82</c:v>
                </c:pt>
                <c:pt idx="2925">
                  <c:v>104.5</c:v>
                </c:pt>
                <c:pt idx="2926">
                  <c:v>102.5</c:v>
                </c:pt>
                <c:pt idx="2927">
                  <c:v>165</c:v>
                </c:pt>
                <c:pt idx="2928">
                  <c:v>238.5</c:v>
                </c:pt>
                <c:pt idx="2929">
                  <c:v>230</c:v>
                </c:pt>
                <c:pt idx="2930">
                  <c:v>209.5</c:v>
                </c:pt>
                <c:pt idx="2931">
                  <c:v>216</c:v>
                </c:pt>
                <c:pt idx="2932">
                  <c:v>231</c:v>
                </c:pt>
                <c:pt idx="2933">
                  <c:v>282.5</c:v>
                </c:pt>
                <c:pt idx="2934">
                  <c:v>267</c:v>
                </c:pt>
                <c:pt idx="2935">
                  <c:v>242.5</c:v>
                </c:pt>
                <c:pt idx="2936">
                  <c:v>262.5</c:v>
                </c:pt>
                <c:pt idx="2937">
                  <c:v>240</c:v>
                </c:pt>
                <c:pt idx="2938">
                  <c:v>196.5</c:v>
                </c:pt>
                <c:pt idx="2939">
                  <c:v>145.5</c:v>
                </c:pt>
                <c:pt idx="2940">
                  <c:v>91</c:v>
                </c:pt>
                <c:pt idx="2941">
                  <c:v>91</c:v>
                </c:pt>
                <c:pt idx="2942">
                  <c:v>116</c:v>
                </c:pt>
                <c:pt idx="2943">
                  <c:v>144.5</c:v>
                </c:pt>
                <c:pt idx="2944">
                  <c:v>189.5</c:v>
                </c:pt>
                <c:pt idx="2945">
                  <c:v>240.5</c:v>
                </c:pt>
                <c:pt idx="2946">
                  <c:v>236</c:v>
                </c:pt>
                <c:pt idx="2947">
                  <c:v>147</c:v>
                </c:pt>
                <c:pt idx="2948">
                  <c:v>155</c:v>
                </c:pt>
                <c:pt idx="2949">
                  <c:v>178.5</c:v>
                </c:pt>
                <c:pt idx="2950">
                  <c:v>166.5</c:v>
                </c:pt>
                <c:pt idx="2951">
                  <c:v>152</c:v>
                </c:pt>
                <c:pt idx="2952">
                  <c:v>193</c:v>
                </c:pt>
                <c:pt idx="2953">
                  <c:v>184.5</c:v>
                </c:pt>
                <c:pt idx="2954">
                  <c:v>150</c:v>
                </c:pt>
                <c:pt idx="2955">
                  <c:v>116</c:v>
                </c:pt>
                <c:pt idx="2956">
                  <c:v>75.5</c:v>
                </c:pt>
                <c:pt idx="2957">
                  <c:v>57.5</c:v>
                </c:pt>
                <c:pt idx="2958">
                  <c:v>142</c:v>
                </c:pt>
                <c:pt idx="2959">
                  <c:v>200</c:v>
                </c:pt>
                <c:pt idx="2960">
                  <c:v>200.5</c:v>
                </c:pt>
                <c:pt idx="2961">
                  <c:v>160</c:v>
                </c:pt>
                <c:pt idx="2962">
                  <c:v>156</c:v>
                </c:pt>
                <c:pt idx="2963">
                  <c:v>138</c:v>
                </c:pt>
                <c:pt idx="2964">
                  <c:v>78</c:v>
                </c:pt>
                <c:pt idx="2965">
                  <c:v>98</c:v>
                </c:pt>
                <c:pt idx="2966">
                  <c:v>106.5</c:v>
                </c:pt>
                <c:pt idx="2967">
                  <c:v>125</c:v>
                </c:pt>
                <c:pt idx="2968">
                  <c:v>198</c:v>
                </c:pt>
                <c:pt idx="2969">
                  <c:v>232.5</c:v>
                </c:pt>
                <c:pt idx="2970">
                  <c:v>147</c:v>
                </c:pt>
                <c:pt idx="2971">
                  <c:v>106</c:v>
                </c:pt>
                <c:pt idx="2972">
                  <c:v>172.5</c:v>
                </c:pt>
                <c:pt idx="2973">
                  <c:v>176.5</c:v>
                </c:pt>
                <c:pt idx="2974">
                  <c:v>150</c:v>
                </c:pt>
                <c:pt idx="2975">
                  <c:v>219.5</c:v>
                </c:pt>
                <c:pt idx="2976">
                  <c:v>254.5</c:v>
                </c:pt>
                <c:pt idx="2977">
                  <c:v>178</c:v>
                </c:pt>
                <c:pt idx="2978">
                  <c:v>106</c:v>
                </c:pt>
                <c:pt idx="2979">
                  <c:v>88.5</c:v>
                </c:pt>
                <c:pt idx="2980">
                  <c:v>36</c:v>
                </c:pt>
                <c:pt idx="2981">
                  <c:v>51</c:v>
                </c:pt>
                <c:pt idx="2982">
                  <c:v>86</c:v>
                </c:pt>
                <c:pt idx="2983">
                  <c:v>161.5</c:v>
                </c:pt>
                <c:pt idx="2984">
                  <c:v>169</c:v>
                </c:pt>
                <c:pt idx="2985">
                  <c:v>143.5</c:v>
                </c:pt>
                <c:pt idx="2986">
                  <c:v>149.5</c:v>
                </c:pt>
                <c:pt idx="2987">
                  <c:v>151</c:v>
                </c:pt>
                <c:pt idx="2988">
                  <c:v>126.5</c:v>
                </c:pt>
                <c:pt idx="2989">
                  <c:v>102</c:v>
                </c:pt>
                <c:pt idx="2990">
                  <c:v>140.5</c:v>
                </c:pt>
                <c:pt idx="2991">
                  <c:v>195.5</c:v>
                </c:pt>
                <c:pt idx="2992">
                  <c:v>162.5</c:v>
                </c:pt>
                <c:pt idx="2993">
                  <c:v>81</c:v>
                </c:pt>
                <c:pt idx="2994">
                  <c:v>155</c:v>
                </c:pt>
                <c:pt idx="2995">
                  <c:v>212.5</c:v>
                </c:pt>
                <c:pt idx="2996">
                  <c:v>235</c:v>
                </c:pt>
                <c:pt idx="2997">
                  <c:v>219.5</c:v>
                </c:pt>
                <c:pt idx="2998">
                  <c:v>138</c:v>
                </c:pt>
                <c:pt idx="2999">
                  <c:v>135.5</c:v>
                </c:pt>
                <c:pt idx="3000">
                  <c:v>174.5</c:v>
                </c:pt>
                <c:pt idx="3001">
                  <c:v>110</c:v>
                </c:pt>
                <c:pt idx="3002">
                  <c:v>128</c:v>
                </c:pt>
                <c:pt idx="3003">
                  <c:v>215</c:v>
                </c:pt>
                <c:pt idx="3004">
                  <c:v>244.5</c:v>
                </c:pt>
                <c:pt idx="3005">
                  <c:v>240</c:v>
                </c:pt>
                <c:pt idx="3006">
                  <c:v>211.5</c:v>
                </c:pt>
                <c:pt idx="3007">
                  <c:v>197</c:v>
                </c:pt>
                <c:pt idx="3008">
                  <c:v>182</c:v>
                </c:pt>
                <c:pt idx="3009">
                  <c:v>127.5</c:v>
                </c:pt>
                <c:pt idx="3010">
                  <c:v>119</c:v>
                </c:pt>
                <c:pt idx="3011">
                  <c:v>168</c:v>
                </c:pt>
                <c:pt idx="3012">
                  <c:v>164</c:v>
                </c:pt>
                <c:pt idx="3013">
                  <c:v>178</c:v>
                </c:pt>
                <c:pt idx="3014">
                  <c:v>145</c:v>
                </c:pt>
                <c:pt idx="3015">
                  <c:v>88.5</c:v>
                </c:pt>
                <c:pt idx="3016">
                  <c:v>122.5</c:v>
                </c:pt>
                <c:pt idx="3017">
                  <c:v>129</c:v>
                </c:pt>
                <c:pt idx="3018">
                  <c:v>106</c:v>
                </c:pt>
                <c:pt idx="3019">
                  <c:v>128.5</c:v>
                </c:pt>
                <c:pt idx="3020">
                  <c:v>113</c:v>
                </c:pt>
                <c:pt idx="3021">
                  <c:v>62</c:v>
                </c:pt>
                <c:pt idx="3022">
                  <c:v>41.5</c:v>
                </c:pt>
                <c:pt idx="3023">
                  <c:v>37.5</c:v>
                </c:pt>
                <c:pt idx="3024">
                  <c:v>58.5</c:v>
                </c:pt>
                <c:pt idx="3025">
                  <c:v>62.5</c:v>
                </c:pt>
                <c:pt idx="3026">
                  <c:v>92</c:v>
                </c:pt>
                <c:pt idx="3027">
                  <c:v>107</c:v>
                </c:pt>
                <c:pt idx="3028">
                  <c:v>50</c:v>
                </c:pt>
                <c:pt idx="3029">
                  <c:v>103.5</c:v>
                </c:pt>
                <c:pt idx="3030">
                  <c:v>152.5</c:v>
                </c:pt>
                <c:pt idx="3031">
                  <c:v>145</c:v>
                </c:pt>
                <c:pt idx="3032">
                  <c:v>103.5</c:v>
                </c:pt>
                <c:pt idx="3033">
                  <c:v>91.5</c:v>
                </c:pt>
                <c:pt idx="3034">
                  <c:v>74.5</c:v>
                </c:pt>
                <c:pt idx="3035">
                  <c:v>99.5</c:v>
                </c:pt>
                <c:pt idx="3036">
                  <c:v>135</c:v>
                </c:pt>
                <c:pt idx="3037">
                  <c:v>152.5</c:v>
                </c:pt>
                <c:pt idx="3038">
                  <c:v>183</c:v>
                </c:pt>
                <c:pt idx="3039">
                  <c:v>211</c:v>
                </c:pt>
                <c:pt idx="3040">
                  <c:v>195.5</c:v>
                </c:pt>
                <c:pt idx="3041">
                  <c:v>144.5</c:v>
                </c:pt>
                <c:pt idx="3042">
                  <c:v>118.5</c:v>
                </c:pt>
                <c:pt idx="3043">
                  <c:v>141</c:v>
                </c:pt>
                <c:pt idx="3044">
                  <c:v>182.5</c:v>
                </c:pt>
                <c:pt idx="3045">
                  <c:v>174.5</c:v>
                </c:pt>
                <c:pt idx="3046">
                  <c:v>176.5</c:v>
                </c:pt>
                <c:pt idx="3047">
                  <c:v>173.5</c:v>
                </c:pt>
                <c:pt idx="3048">
                  <c:v>177.5</c:v>
                </c:pt>
                <c:pt idx="3049">
                  <c:v>205</c:v>
                </c:pt>
                <c:pt idx="3050">
                  <c:v>199</c:v>
                </c:pt>
                <c:pt idx="3051">
                  <c:v>208</c:v>
                </c:pt>
                <c:pt idx="3052">
                  <c:v>167</c:v>
                </c:pt>
                <c:pt idx="3053">
                  <c:v>86.5</c:v>
                </c:pt>
                <c:pt idx="3054">
                  <c:v>123</c:v>
                </c:pt>
                <c:pt idx="3055">
                  <c:v>166</c:v>
                </c:pt>
                <c:pt idx="3056">
                  <c:v>121</c:v>
                </c:pt>
                <c:pt idx="3057">
                  <c:v>74</c:v>
                </c:pt>
                <c:pt idx="3058">
                  <c:v>138</c:v>
                </c:pt>
                <c:pt idx="3059">
                  <c:v>96.5</c:v>
                </c:pt>
                <c:pt idx="3060">
                  <c:v>88</c:v>
                </c:pt>
                <c:pt idx="3061">
                  <c:v>155</c:v>
                </c:pt>
                <c:pt idx="3062">
                  <c:v>203.5</c:v>
                </c:pt>
                <c:pt idx="3063">
                  <c:v>152.5</c:v>
                </c:pt>
                <c:pt idx="3064">
                  <c:v>62</c:v>
                </c:pt>
                <c:pt idx="3065">
                  <c:v>60.5</c:v>
                </c:pt>
                <c:pt idx="3066">
                  <c:v>127.5</c:v>
                </c:pt>
                <c:pt idx="3067">
                  <c:v>190.5</c:v>
                </c:pt>
                <c:pt idx="3068">
                  <c:v>199</c:v>
                </c:pt>
                <c:pt idx="3069">
                  <c:v>131.5</c:v>
                </c:pt>
                <c:pt idx="3070">
                  <c:v>86</c:v>
                </c:pt>
                <c:pt idx="3071">
                  <c:v>90</c:v>
                </c:pt>
                <c:pt idx="3072">
                  <c:v>72</c:v>
                </c:pt>
                <c:pt idx="3073">
                  <c:v>160.5</c:v>
                </c:pt>
                <c:pt idx="3074">
                  <c:v>255</c:v>
                </c:pt>
                <c:pt idx="3075">
                  <c:v>265</c:v>
                </c:pt>
                <c:pt idx="3076">
                  <c:v>171</c:v>
                </c:pt>
                <c:pt idx="3077">
                  <c:v>104.5</c:v>
                </c:pt>
                <c:pt idx="3078">
                  <c:v>94</c:v>
                </c:pt>
                <c:pt idx="3079">
                  <c:v>125</c:v>
                </c:pt>
                <c:pt idx="3080">
                  <c:v>212.5</c:v>
                </c:pt>
                <c:pt idx="3081">
                  <c:v>247.5</c:v>
                </c:pt>
                <c:pt idx="3082">
                  <c:v>138.5</c:v>
                </c:pt>
                <c:pt idx="3083">
                  <c:v>76</c:v>
                </c:pt>
                <c:pt idx="3084">
                  <c:v>166</c:v>
                </c:pt>
                <c:pt idx="3085">
                  <c:v>149</c:v>
                </c:pt>
                <c:pt idx="3086">
                  <c:v>88</c:v>
                </c:pt>
                <c:pt idx="3087">
                  <c:v>100</c:v>
                </c:pt>
                <c:pt idx="3088">
                  <c:v>158.5</c:v>
                </c:pt>
                <c:pt idx="3089">
                  <c:v>135</c:v>
                </c:pt>
                <c:pt idx="3090">
                  <c:v>154</c:v>
                </c:pt>
                <c:pt idx="3091">
                  <c:v>186.5</c:v>
                </c:pt>
                <c:pt idx="3092">
                  <c:v>170.5</c:v>
                </c:pt>
                <c:pt idx="3093">
                  <c:v>140.5</c:v>
                </c:pt>
                <c:pt idx="3094">
                  <c:v>168</c:v>
                </c:pt>
                <c:pt idx="3095">
                  <c:v>249.5</c:v>
                </c:pt>
                <c:pt idx="3096">
                  <c:v>261</c:v>
                </c:pt>
                <c:pt idx="3097">
                  <c:v>221</c:v>
                </c:pt>
                <c:pt idx="3098">
                  <c:v>248</c:v>
                </c:pt>
                <c:pt idx="3099">
                  <c:v>281.5</c:v>
                </c:pt>
                <c:pt idx="3100">
                  <c:v>230</c:v>
                </c:pt>
                <c:pt idx="3101">
                  <c:v>142.5</c:v>
                </c:pt>
                <c:pt idx="3102">
                  <c:v>102.5</c:v>
                </c:pt>
                <c:pt idx="3103">
                  <c:v>71.5</c:v>
                </c:pt>
                <c:pt idx="3104">
                  <c:v>139.5</c:v>
                </c:pt>
                <c:pt idx="3105">
                  <c:v>146.5</c:v>
                </c:pt>
                <c:pt idx="3106">
                  <c:v>122.5</c:v>
                </c:pt>
                <c:pt idx="3107">
                  <c:v>148</c:v>
                </c:pt>
                <c:pt idx="3108">
                  <c:v>172</c:v>
                </c:pt>
                <c:pt idx="3109">
                  <c:v>217</c:v>
                </c:pt>
                <c:pt idx="3110">
                  <c:v>200.5</c:v>
                </c:pt>
                <c:pt idx="3111">
                  <c:v>227.5</c:v>
                </c:pt>
                <c:pt idx="3112">
                  <c:v>215</c:v>
                </c:pt>
                <c:pt idx="3113">
                  <c:v>127.5</c:v>
                </c:pt>
                <c:pt idx="3114">
                  <c:v>166.5</c:v>
                </c:pt>
                <c:pt idx="3115">
                  <c:v>135</c:v>
                </c:pt>
                <c:pt idx="3116">
                  <c:v>88.5</c:v>
                </c:pt>
                <c:pt idx="3117">
                  <c:v>120</c:v>
                </c:pt>
                <c:pt idx="3118">
                  <c:v>195.5</c:v>
                </c:pt>
                <c:pt idx="3119">
                  <c:v>229</c:v>
                </c:pt>
                <c:pt idx="3120">
                  <c:v>218.5</c:v>
                </c:pt>
                <c:pt idx="3121">
                  <c:v>214.5</c:v>
                </c:pt>
                <c:pt idx="3122">
                  <c:v>228.5</c:v>
                </c:pt>
                <c:pt idx="3123">
                  <c:v>244</c:v>
                </c:pt>
                <c:pt idx="3124">
                  <c:v>245</c:v>
                </c:pt>
                <c:pt idx="3125">
                  <c:v>210.5</c:v>
                </c:pt>
                <c:pt idx="3126">
                  <c:v>167</c:v>
                </c:pt>
                <c:pt idx="3127">
                  <c:v>119.5</c:v>
                </c:pt>
                <c:pt idx="3128">
                  <c:v>211.5</c:v>
                </c:pt>
                <c:pt idx="3129">
                  <c:v>262</c:v>
                </c:pt>
                <c:pt idx="3130">
                  <c:v>220.5</c:v>
                </c:pt>
                <c:pt idx="3131">
                  <c:v>158.5</c:v>
                </c:pt>
                <c:pt idx="3132">
                  <c:v>124.5</c:v>
                </c:pt>
                <c:pt idx="3133">
                  <c:v>122</c:v>
                </c:pt>
                <c:pt idx="3134">
                  <c:v>191.5</c:v>
                </c:pt>
                <c:pt idx="3135">
                  <c:v>252</c:v>
                </c:pt>
                <c:pt idx="3136">
                  <c:v>199</c:v>
                </c:pt>
                <c:pt idx="3137">
                  <c:v>168</c:v>
                </c:pt>
                <c:pt idx="3138">
                  <c:v>266.5</c:v>
                </c:pt>
                <c:pt idx="3139">
                  <c:v>310</c:v>
                </c:pt>
                <c:pt idx="3140">
                  <c:v>264</c:v>
                </c:pt>
                <c:pt idx="3141">
                  <c:v>181.5</c:v>
                </c:pt>
                <c:pt idx="3142">
                  <c:v>120</c:v>
                </c:pt>
                <c:pt idx="3143">
                  <c:v>129.5</c:v>
                </c:pt>
                <c:pt idx="3144">
                  <c:v>158.5</c:v>
                </c:pt>
                <c:pt idx="3145">
                  <c:v>170.5</c:v>
                </c:pt>
                <c:pt idx="3146">
                  <c:v>180</c:v>
                </c:pt>
                <c:pt idx="3147">
                  <c:v>152</c:v>
                </c:pt>
                <c:pt idx="3148">
                  <c:v>186</c:v>
                </c:pt>
                <c:pt idx="3149">
                  <c:v>169</c:v>
                </c:pt>
                <c:pt idx="3150">
                  <c:v>162.5</c:v>
                </c:pt>
                <c:pt idx="3151">
                  <c:v>199.5</c:v>
                </c:pt>
                <c:pt idx="3152">
                  <c:v>196.5</c:v>
                </c:pt>
                <c:pt idx="3153">
                  <c:v>146</c:v>
                </c:pt>
                <c:pt idx="3154">
                  <c:v>111</c:v>
                </c:pt>
                <c:pt idx="3155">
                  <c:v>130.5</c:v>
                </c:pt>
                <c:pt idx="3156">
                  <c:v>120.5</c:v>
                </c:pt>
                <c:pt idx="3157">
                  <c:v>89</c:v>
                </c:pt>
                <c:pt idx="3158">
                  <c:v>226.5</c:v>
                </c:pt>
                <c:pt idx="3159">
                  <c:v>335</c:v>
                </c:pt>
                <c:pt idx="3160">
                  <c:v>299.5</c:v>
                </c:pt>
                <c:pt idx="3161">
                  <c:v>267.5</c:v>
                </c:pt>
                <c:pt idx="3162">
                  <c:v>206.5</c:v>
                </c:pt>
                <c:pt idx="3163">
                  <c:v>216.5</c:v>
                </c:pt>
                <c:pt idx="3164">
                  <c:v>224</c:v>
                </c:pt>
                <c:pt idx="3165">
                  <c:v>207</c:v>
                </c:pt>
                <c:pt idx="3166">
                  <c:v>165.5</c:v>
                </c:pt>
                <c:pt idx="3167">
                  <c:v>142.5</c:v>
                </c:pt>
                <c:pt idx="3168">
                  <c:v>83</c:v>
                </c:pt>
                <c:pt idx="3169">
                  <c:v>93.5</c:v>
                </c:pt>
                <c:pt idx="3170">
                  <c:v>212</c:v>
                </c:pt>
                <c:pt idx="3171">
                  <c:v>181.5</c:v>
                </c:pt>
                <c:pt idx="3172">
                  <c:v>144.5</c:v>
                </c:pt>
                <c:pt idx="3173">
                  <c:v>219</c:v>
                </c:pt>
                <c:pt idx="3174">
                  <c:v>240</c:v>
                </c:pt>
                <c:pt idx="3175">
                  <c:v>180</c:v>
                </c:pt>
                <c:pt idx="3176">
                  <c:v>146.5</c:v>
                </c:pt>
                <c:pt idx="3177">
                  <c:v>176.5</c:v>
                </c:pt>
                <c:pt idx="3178">
                  <c:v>250</c:v>
                </c:pt>
                <c:pt idx="3179">
                  <c:v>309</c:v>
                </c:pt>
                <c:pt idx="3180">
                  <c:v>288</c:v>
                </c:pt>
                <c:pt idx="3181">
                  <c:v>235</c:v>
                </c:pt>
                <c:pt idx="3182">
                  <c:v>197.5</c:v>
                </c:pt>
                <c:pt idx="3183">
                  <c:v>170.5</c:v>
                </c:pt>
                <c:pt idx="3184">
                  <c:v>167.5</c:v>
                </c:pt>
                <c:pt idx="3185">
                  <c:v>194</c:v>
                </c:pt>
                <c:pt idx="3186">
                  <c:v>175.5</c:v>
                </c:pt>
                <c:pt idx="3187">
                  <c:v>133.5</c:v>
                </c:pt>
                <c:pt idx="3188">
                  <c:v>113.5</c:v>
                </c:pt>
                <c:pt idx="3189">
                  <c:v>111</c:v>
                </c:pt>
                <c:pt idx="3190">
                  <c:v>94</c:v>
                </c:pt>
                <c:pt idx="3191">
                  <c:v>163</c:v>
                </c:pt>
                <c:pt idx="3192">
                  <c:v>236.5</c:v>
                </c:pt>
                <c:pt idx="3193">
                  <c:v>220.5</c:v>
                </c:pt>
                <c:pt idx="3194">
                  <c:v>110</c:v>
                </c:pt>
                <c:pt idx="3195">
                  <c:v>56.5</c:v>
                </c:pt>
                <c:pt idx="3196">
                  <c:v>92.5</c:v>
                </c:pt>
                <c:pt idx="3197">
                  <c:v>55</c:v>
                </c:pt>
                <c:pt idx="3198">
                  <c:v>97.5</c:v>
                </c:pt>
                <c:pt idx="3199">
                  <c:v>146.5</c:v>
                </c:pt>
                <c:pt idx="3200">
                  <c:v>110</c:v>
                </c:pt>
                <c:pt idx="3201">
                  <c:v>86</c:v>
                </c:pt>
                <c:pt idx="3202">
                  <c:v>129.5</c:v>
                </c:pt>
                <c:pt idx="3203">
                  <c:v>125.5</c:v>
                </c:pt>
                <c:pt idx="3204">
                  <c:v>123.5</c:v>
                </c:pt>
                <c:pt idx="3205">
                  <c:v>213</c:v>
                </c:pt>
                <c:pt idx="3206">
                  <c:v>223.5</c:v>
                </c:pt>
                <c:pt idx="3207">
                  <c:v>223</c:v>
                </c:pt>
                <c:pt idx="3208">
                  <c:v>224</c:v>
                </c:pt>
                <c:pt idx="3209">
                  <c:v>239</c:v>
                </c:pt>
                <c:pt idx="3210">
                  <c:v>270</c:v>
                </c:pt>
                <c:pt idx="3211">
                  <c:v>226</c:v>
                </c:pt>
                <c:pt idx="3212">
                  <c:v>159.5</c:v>
                </c:pt>
                <c:pt idx="3213">
                  <c:v>135</c:v>
                </c:pt>
                <c:pt idx="3214">
                  <c:v>110.5</c:v>
                </c:pt>
                <c:pt idx="3215">
                  <c:v>136</c:v>
                </c:pt>
                <c:pt idx="3216">
                  <c:v>181.5</c:v>
                </c:pt>
                <c:pt idx="3217">
                  <c:v>165.5</c:v>
                </c:pt>
                <c:pt idx="3218">
                  <c:v>110.5</c:v>
                </c:pt>
                <c:pt idx="3219">
                  <c:v>104.5</c:v>
                </c:pt>
                <c:pt idx="3220">
                  <c:v>200.5</c:v>
                </c:pt>
                <c:pt idx="3221">
                  <c:v>198.5</c:v>
                </c:pt>
                <c:pt idx="3222">
                  <c:v>134.5</c:v>
                </c:pt>
                <c:pt idx="3223">
                  <c:v>117.5</c:v>
                </c:pt>
                <c:pt idx="3224">
                  <c:v>156.5</c:v>
                </c:pt>
                <c:pt idx="3225">
                  <c:v>169.5</c:v>
                </c:pt>
                <c:pt idx="3226">
                  <c:v>150.5</c:v>
                </c:pt>
                <c:pt idx="3227">
                  <c:v>206</c:v>
                </c:pt>
                <c:pt idx="3228">
                  <c:v>223.5</c:v>
                </c:pt>
                <c:pt idx="3229">
                  <c:v>227.5</c:v>
                </c:pt>
                <c:pt idx="3230">
                  <c:v>183</c:v>
                </c:pt>
                <c:pt idx="3231">
                  <c:v>106</c:v>
                </c:pt>
                <c:pt idx="3232">
                  <c:v>167</c:v>
                </c:pt>
                <c:pt idx="3233">
                  <c:v>265.5</c:v>
                </c:pt>
                <c:pt idx="3234">
                  <c:v>391</c:v>
                </c:pt>
                <c:pt idx="3235">
                  <c:v>361.5</c:v>
                </c:pt>
                <c:pt idx="3236">
                  <c:v>197</c:v>
                </c:pt>
                <c:pt idx="3237">
                  <c:v>125</c:v>
                </c:pt>
                <c:pt idx="3238">
                  <c:v>154.5</c:v>
                </c:pt>
                <c:pt idx="3239">
                  <c:v>215.5</c:v>
                </c:pt>
                <c:pt idx="3240">
                  <c:v>267.5</c:v>
                </c:pt>
                <c:pt idx="3241">
                  <c:v>202</c:v>
                </c:pt>
                <c:pt idx="3242">
                  <c:v>111.5</c:v>
                </c:pt>
                <c:pt idx="3243">
                  <c:v>108.5</c:v>
                </c:pt>
                <c:pt idx="3244">
                  <c:v>101</c:v>
                </c:pt>
                <c:pt idx="3245">
                  <c:v>153</c:v>
                </c:pt>
                <c:pt idx="3246">
                  <c:v>171.5</c:v>
                </c:pt>
                <c:pt idx="3247">
                  <c:v>193</c:v>
                </c:pt>
                <c:pt idx="3248">
                  <c:v>150.5</c:v>
                </c:pt>
                <c:pt idx="3249">
                  <c:v>163</c:v>
                </c:pt>
                <c:pt idx="3250">
                  <c:v>173.5</c:v>
                </c:pt>
                <c:pt idx="3251">
                  <c:v>188</c:v>
                </c:pt>
                <c:pt idx="3252">
                  <c:v>191</c:v>
                </c:pt>
                <c:pt idx="3253">
                  <c:v>147</c:v>
                </c:pt>
                <c:pt idx="3254">
                  <c:v>152.5</c:v>
                </c:pt>
                <c:pt idx="3255">
                  <c:v>237.5</c:v>
                </c:pt>
                <c:pt idx="3256">
                  <c:v>221</c:v>
                </c:pt>
                <c:pt idx="3257">
                  <c:v>120</c:v>
                </c:pt>
                <c:pt idx="3258">
                  <c:v>91</c:v>
                </c:pt>
                <c:pt idx="3259">
                  <c:v>113</c:v>
                </c:pt>
                <c:pt idx="3260">
                  <c:v>180.5</c:v>
                </c:pt>
                <c:pt idx="3261">
                  <c:v>219.5</c:v>
                </c:pt>
                <c:pt idx="3262">
                  <c:v>124</c:v>
                </c:pt>
                <c:pt idx="3263">
                  <c:v>95.5</c:v>
                </c:pt>
                <c:pt idx="3264">
                  <c:v>250</c:v>
                </c:pt>
                <c:pt idx="3265">
                  <c:v>294</c:v>
                </c:pt>
                <c:pt idx="3266">
                  <c:v>269</c:v>
                </c:pt>
                <c:pt idx="3267">
                  <c:v>197.5</c:v>
                </c:pt>
                <c:pt idx="3268">
                  <c:v>144.5</c:v>
                </c:pt>
                <c:pt idx="3269">
                  <c:v>128</c:v>
                </c:pt>
                <c:pt idx="3270">
                  <c:v>113</c:v>
                </c:pt>
                <c:pt idx="3271">
                  <c:v>111</c:v>
                </c:pt>
                <c:pt idx="3272">
                  <c:v>123</c:v>
                </c:pt>
                <c:pt idx="3273">
                  <c:v>81</c:v>
                </c:pt>
                <c:pt idx="3274">
                  <c:v>101.5</c:v>
                </c:pt>
                <c:pt idx="3275">
                  <c:v>154.5</c:v>
                </c:pt>
                <c:pt idx="3276">
                  <c:v>196</c:v>
                </c:pt>
                <c:pt idx="3277">
                  <c:v>160</c:v>
                </c:pt>
                <c:pt idx="3278">
                  <c:v>155.5</c:v>
                </c:pt>
                <c:pt idx="3279">
                  <c:v>183.5</c:v>
                </c:pt>
                <c:pt idx="3280">
                  <c:v>79</c:v>
                </c:pt>
                <c:pt idx="3281">
                  <c:v>110.5</c:v>
                </c:pt>
                <c:pt idx="3282">
                  <c:v>149.5</c:v>
                </c:pt>
                <c:pt idx="3283">
                  <c:v>188.5</c:v>
                </c:pt>
                <c:pt idx="3284">
                  <c:v>239.5</c:v>
                </c:pt>
                <c:pt idx="3285">
                  <c:v>249</c:v>
                </c:pt>
                <c:pt idx="3286">
                  <c:v>206</c:v>
                </c:pt>
                <c:pt idx="3287">
                  <c:v>213.5</c:v>
                </c:pt>
                <c:pt idx="3288">
                  <c:v>251.5</c:v>
                </c:pt>
                <c:pt idx="3289">
                  <c:v>232.5</c:v>
                </c:pt>
                <c:pt idx="3290">
                  <c:v>145.5</c:v>
                </c:pt>
                <c:pt idx="3291">
                  <c:v>195.5</c:v>
                </c:pt>
                <c:pt idx="3292">
                  <c:v>214.5</c:v>
                </c:pt>
                <c:pt idx="3293">
                  <c:v>245.5</c:v>
                </c:pt>
                <c:pt idx="3294">
                  <c:v>191.5</c:v>
                </c:pt>
                <c:pt idx="3295">
                  <c:v>80</c:v>
                </c:pt>
                <c:pt idx="3296">
                  <c:v>177.5</c:v>
                </c:pt>
                <c:pt idx="3297">
                  <c:v>188</c:v>
                </c:pt>
                <c:pt idx="3298">
                  <c:v>207.5</c:v>
                </c:pt>
                <c:pt idx="3299">
                  <c:v>171.5</c:v>
                </c:pt>
                <c:pt idx="3300">
                  <c:v>104</c:v>
                </c:pt>
                <c:pt idx="3301">
                  <c:v>123.5</c:v>
                </c:pt>
                <c:pt idx="3302">
                  <c:v>189.5</c:v>
                </c:pt>
                <c:pt idx="3303">
                  <c:v>185</c:v>
                </c:pt>
                <c:pt idx="3304">
                  <c:v>169</c:v>
                </c:pt>
                <c:pt idx="3305">
                  <c:v>526</c:v>
                </c:pt>
                <c:pt idx="3306">
                  <c:v>689.5</c:v>
                </c:pt>
                <c:pt idx="3307">
                  <c:v>639</c:v>
                </c:pt>
                <c:pt idx="3308">
                  <c:v>497.5</c:v>
                </c:pt>
                <c:pt idx="3309">
                  <c:v>354.5</c:v>
                </c:pt>
                <c:pt idx="3310">
                  <c:v>226</c:v>
                </c:pt>
                <c:pt idx="3311">
                  <c:v>254.5</c:v>
                </c:pt>
                <c:pt idx="3312">
                  <c:v>301</c:v>
                </c:pt>
                <c:pt idx="3313">
                  <c:v>238.5</c:v>
                </c:pt>
                <c:pt idx="3314">
                  <c:v>203.5</c:v>
                </c:pt>
                <c:pt idx="3315">
                  <c:v>217.5</c:v>
                </c:pt>
                <c:pt idx="3316">
                  <c:v>169</c:v>
                </c:pt>
                <c:pt idx="3317">
                  <c:v>106</c:v>
                </c:pt>
                <c:pt idx="3318">
                  <c:v>151</c:v>
                </c:pt>
                <c:pt idx="3319">
                  <c:v>218.5</c:v>
                </c:pt>
                <c:pt idx="3320">
                  <c:v>277</c:v>
                </c:pt>
                <c:pt idx="3321">
                  <c:v>264</c:v>
                </c:pt>
                <c:pt idx="3322">
                  <c:v>160.5</c:v>
                </c:pt>
                <c:pt idx="3323">
                  <c:v>171.5</c:v>
                </c:pt>
                <c:pt idx="3324">
                  <c:v>298.5</c:v>
                </c:pt>
                <c:pt idx="3325">
                  <c:v>311.5</c:v>
                </c:pt>
                <c:pt idx="3326">
                  <c:v>217.5</c:v>
                </c:pt>
                <c:pt idx="3327">
                  <c:v>131</c:v>
                </c:pt>
                <c:pt idx="3328">
                  <c:v>210.5</c:v>
                </c:pt>
                <c:pt idx="3329">
                  <c:v>213</c:v>
                </c:pt>
                <c:pt idx="3330">
                  <c:v>179</c:v>
                </c:pt>
                <c:pt idx="3331">
                  <c:v>216</c:v>
                </c:pt>
                <c:pt idx="3332">
                  <c:v>271</c:v>
                </c:pt>
                <c:pt idx="3333">
                  <c:v>251</c:v>
                </c:pt>
                <c:pt idx="3334">
                  <c:v>199.5</c:v>
                </c:pt>
                <c:pt idx="3335">
                  <c:v>159.5</c:v>
                </c:pt>
                <c:pt idx="3336">
                  <c:v>183</c:v>
                </c:pt>
                <c:pt idx="3337">
                  <c:v>198</c:v>
                </c:pt>
                <c:pt idx="3338">
                  <c:v>211</c:v>
                </c:pt>
                <c:pt idx="3339">
                  <c:v>227</c:v>
                </c:pt>
                <c:pt idx="3340">
                  <c:v>237.5</c:v>
                </c:pt>
                <c:pt idx="3341">
                  <c:v>174</c:v>
                </c:pt>
                <c:pt idx="3342">
                  <c:v>112.5</c:v>
                </c:pt>
                <c:pt idx="3343">
                  <c:v>234</c:v>
                </c:pt>
                <c:pt idx="3344">
                  <c:v>266.5</c:v>
                </c:pt>
                <c:pt idx="3345">
                  <c:v>291.5</c:v>
                </c:pt>
                <c:pt idx="3346">
                  <c:v>299</c:v>
                </c:pt>
                <c:pt idx="3347">
                  <c:v>308</c:v>
                </c:pt>
                <c:pt idx="3348">
                  <c:v>290</c:v>
                </c:pt>
                <c:pt idx="3349">
                  <c:v>214</c:v>
                </c:pt>
                <c:pt idx="3350">
                  <c:v>108.5</c:v>
                </c:pt>
                <c:pt idx="3351">
                  <c:v>80</c:v>
                </c:pt>
                <c:pt idx="3352">
                  <c:v>133</c:v>
                </c:pt>
                <c:pt idx="3353">
                  <c:v>104</c:v>
                </c:pt>
                <c:pt idx="3354">
                  <c:v>116</c:v>
                </c:pt>
                <c:pt idx="3355">
                  <c:v>186</c:v>
                </c:pt>
                <c:pt idx="3356">
                  <c:v>137.5</c:v>
                </c:pt>
                <c:pt idx="3357">
                  <c:v>157</c:v>
                </c:pt>
                <c:pt idx="3358">
                  <c:v>140.5</c:v>
                </c:pt>
                <c:pt idx="3359">
                  <c:v>135.5</c:v>
                </c:pt>
                <c:pt idx="3360">
                  <c:v>154</c:v>
                </c:pt>
                <c:pt idx="3361">
                  <c:v>179.5</c:v>
                </c:pt>
                <c:pt idx="3362">
                  <c:v>203</c:v>
                </c:pt>
                <c:pt idx="3363">
                  <c:v>220</c:v>
                </c:pt>
                <c:pt idx="3364">
                  <c:v>217.5</c:v>
                </c:pt>
                <c:pt idx="3365">
                  <c:v>115.5</c:v>
                </c:pt>
                <c:pt idx="3366">
                  <c:v>97.5</c:v>
                </c:pt>
                <c:pt idx="3367">
                  <c:v>204.5</c:v>
                </c:pt>
                <c:pt idx="3368">
                  <c:v>173</c:v>
                </c:pt>
                <c:pt idx="3369">
                  <c:v>128.5</c:v>
                </c:pt>
                <c:pt idx="3370">
                  <c:v>131</c:v>
                </c:pt>
                <c:pt idx="3371">
                  <c:v>143</c:v>
                </c:pt>
                <c:pt idx="3372">
                  <c:v>211</c:v>
                </c:pt>
                <c:pt idx="3373">
                  <c:v>246</c:v>
                </c:pt>
                <c:pt idx="3374">
                  <c:v>231.5</c:v>
                </c:pt>
                <c:pt idx="3375">
                  <c:v>178.5</c:v>
                </c:pt>
                <c:pt idx="3376">
                  <c:v>192</c:v>
                </c:pt>
                <c:pt idx="3377">
                  <c:v>214</c:v>
                </c:pt>
                <c:pt idx="3378">
                  <c:v>189</c:v>
                </c:pt>
                <c:pt idx="3379">
                  <c:v>164.5</c:v>
                </c:pt>
                <c:pt idx="3380">
                  <c:v>248.5</c:v>
                </c:pt>
                <c:pt idx="3381">
                  <c:v>300.5</c:v>
                </c:pt>
                <c:pt idx="3382">
                  <c:v>315</c:v>
                </c:pt>
                <c:pt idx="3383">
                  <c:v>329.5</c:v>
                </c:pt>
                <c:pt idx="3384">
                  <c:v>311</c:v>
                </c:pt>
                <c:pt idx="3385">
                  <c:v>228</c:v>
                </c:pt>
                <c:pt idx="3386">
                  <c:v>144.5</c:v>
                </c:pt>
                <c:pt idx="3387">
                  <c:v>133</c:v>
                </c:pt>
                <c:pt idx="3388">
                  <c:v>177.5</c:v>
                </c:pt>
                <c:pt idx="3389">
                  <c:v>219</c:v>
                </c:pt>
                <c:pt idx="3390">
                  <c:v>275.5</c:v>
                </c:pt>
                <c:pt idx="3391">
                  <c:v>360.5</c:v>
                </c:pt>
                <c:pt idx="3392">
                  <c:v>339</c:v>
                </c:pt>
                <c:pt idx="3393">
                  <c:v>249</c:v>
                </c:pt>
                <c:pt idx="3394">
                  <c:v>228.5</c:v>
                </c:pt>
                <c:pt idx="3395">
                  <c:v>275.5</c:v>
                </c:pt>
                <c:pt idx="3396">
                  <c:v>265</c:v>
                </c:pt>
                <c:pt idx="3397">
                  <c:v>199.5</c:v>
                </c:pt>
                <c:pt idx="3398">
                  <c:v>154.5</c:v>
                </c:pt>
                <c:pt idx="3399">
                  <c:v>150</c:v>
                </c:pt>
                <c:pt idx="3400">
                  <c:v>177</c:v>
                </c:pt>
                <c:pt idx="3401">
                  <c:v>231</c:v>
                </c:pt>
                <c:pt idx="3402">
                  <c:v>205.5</c:v>
                </c:pt>
                <c:pt idx="3403">
                  <c:v>235</c:v>
                </c:pt>
                <c:pt idx="3404">
                  <c:v>362</c:v>
                </c:pt>
                <c:pt idx="3405">
                  <c:v>334.5</c:v>
                </c:pt>
                <c:pt idx="3406">
                  <c:v>206</c:v>
                </c:pt>
                <c:pt idx="3407">
                  <c:v>129</c:v>
                </c:pt>
                <c:pt idx="3408">
                  <c:v>152.5</c:v>
                </c:pt>
                <c:pt idx="3409">
                  <c:v>244.5</c:v>
                </c:pt>
                <c:pt idx="3410">
                  <c:v>228</c:v>
                </c:pt>
                <c:pt idx="3411">
                  <c:v>138</c:v>
                </c:pt>
                <c:pt idx="3412">
                  <c:v>139.5</c:v>
                </c:pt>
                <c:pt idx="3413">
                  <c:v>119.5</c:v>
                </c:pt>
                <c:pt idx="3414">
                  <c:v>154</c:v>
                </c:pt>
                <c:pt idx="3415">
                  <c:v>222</c:v>
                </c:pt>
                <c:pt idx="3416">
                  <c:v>222.5</c:v>
                </c:pt>
                <c:pt idx="3417">
                  <c:v>137</c:v>
                </c:pt>
                <c:pt idx="3418">
                  <c:v>226</c:v>
                </c:pt>
                <c:pt idx="3419">
                  <c:v>334</c:v>
                </c:pt>
                <c:pt idx="3420">
                  <c:v>435.5</c:v>
                </c:pt>
                <c:pt idx="3421">
                  <c:v>493</c:v>
                </c:pt>
                <c:pt idx="3422">
                  <c:v>454</c:v>
                </c:pt>
                <c:pt idx="3423">
                  <c:v>308</c:v>
                </c:pt>
                <c:pt idx="3424">
                  <c:v>146.5</c:v>
                </c:pt>
                <c:pt idx="3425">
                  <c:v>202.5</c:v>
                </c:pt>
                <c:pt idx="3426">
                  <c:v>315.5</c:v>
                </c:pt>
                <c:pt idx="3427">
                  <c:v>446</c:v>
                </c:pt>
                <c:pt idx="3428">
                  <c:v>478</c:v>
                </c:pt>
                <c:pt idx="3429">
                  <c:v>431</c:v>
                </c:pt>
                <c:pt idx="3430">
                  <c:v>323.5</c:v>
                </c:pt>
                <c:pt idx="3431">
                  <c:v>296</c:v>
                </c:pt>
                <c:pt idx="3432">
                  <c:v>295.5</c:v>
                </c:pt>
                <c:pt idx="3433">
                  <c:v>391</c:v>
                </c:pt>
                <c:pt idx="3434">
                  <c:v>414.5</c:v>
                </c:pt>
                <c:pt idx="3435">
                  <c:v>317.5</c:v>
                </c:pt>
                <c:pt idx="3436">
                  <c:v>257</c:v>
                </c:pt>
                <c:pt idx="3437">
                  <c:v>313.5</c:v>
                </c:pt>
                <c:pt idx="3438">
                  <c:v>294</c:v>
                </c:pt>
                <c:pt idx="3439">
                  <c:v>217.5</c:v>
                </c:pt>
                <c:pt idx="3440">
                  <c:v>195</c:v>
                </c:pt>
                <c:pt idx="3441">
                  <c:v>158</c:v>
                </c:pt>
                <c:pt idx="3442">
                  <c:v>112.5</c:v>
                </c:pt>
                <c:pt idx="3443">
                  <c:v>155</c:v>
                </c:pt>
                <c:pt idx="3444">
                  <c:v>198.5</c:v>
                </c:pt>
                <c:pt idx="3445">
                  <c:v>167.5</c:v>
                </c:pt>
                <c:pt idx="3446">
                  <c:v>153</c:v>
                </c:pt>
                <c:pt idx="3447">
                  <c:v>162.5</c:v>
                </c:pt>
                <c:pt idx="3448">
                  <c:v>222.5</c:v>
                </c:pt>
                <c:pt idx="3449">
                  <c:v>202.5</c:v>
                </c:pt>
                <c:pt idx="3450">
                  <c:v>251</c:v>
                </c:pt>
                <c:pt idx="3451">
                  <c:v>357.5</c:v>
                </c:pt>
                <c:pt idx="3452">
                  <c:v>296.5</c:v>
                </c:pt>
                <c:pt idx="3453">
                  <c:v>92</c:v>
                </c:pt>
                <c:pt idx="3454">
                  <c:v>275</c:v>
                </c:pt>
                <c:pt idx="3455">
                  <c:v>389</c:v>
                </c:pt>
                <c:pt idx="3456">
                  <c:v>258.5</c:v>
                </c:pt>
                <c:pt idx="3457">
                  <c:v>225.5</c:v>
                </c:pt>
                <c:pt idx="3458">
                  <c:v>244.5</c:v>
                </c:pt>
                <c:pt idx="3459">
                  <c:v>155</c:v>
                </c:pt>
                <c:pt idx="3460">
                  <c:v>120.5</c:v>
                </c:pt>
                <c:pt idx="3461">
                  <c:v>171.5</c:v>
                </c:pt>
                <c:pt idx="3462">
                  <c:v>87</c:v>
                </c:pt>
                <c:pt idx="3463">
                  <c:v>176.5</c:v>
                </c:pt>
                <c:pt idx="3464">
                  <c:v>223</c:v>
                </c:pt>
                <c:pt idx="3465">
                  <c:v>195</c:v>
                </c:pt>
                <c:pt idx="3466">
                  <c:v>187.5</c:v>
                </c:pt>
                <c:pt idx="3467">
                  <c:v>271</c:v>
                </c:pt>
                <c:pt idx="3468">
                  <c:v>311.5</c:v>
                </c:pt>
                <c:pt idx="3469">
                  <c:v>253</c:v>
                </c:pt>
                <c:pt idx="3470">
                  <c:v>195.5</c:v>
                </c:pt>
                <c:pt idx="3471">
                  <c:v>159</c:v>
                </c:pt>
                <c:pt idx="3472">
                  <c:v>141</c:v>
                </c:pt>
                <c:pt idx="3473">
                  <c:v>151</c:v>
                </c:pt>
                <c:pt idx="3474">
                  <c:v>211.5</c:v>
                </c:pt>
                <c:pt idx="3475">
                  <c:v>278</c:v>
                </c:pt>
                <c:pt idx="3476">
                  <c:v>290</c:v>
                </c:pt>
                <c:pt idx="3477">
                  <c:v>223.5</c:v>
                </c:pt>
                <c:pt idx="3478">
                  <c:v>276.5</c:v>
                </c:pt>
                <c:pt idx="3479">
                  <c:v>353</c:v>
                </c:pt>
                <c:pt idx="3480">
                  <c:v>363.5</c:v>
                </c:pt>
                <c:pt idx="3481">
                  <c:v>354</c:v>
                </c:pt>
                <c:pt idx="3482">
                  <c:v>265.5</c:v>
                </c:pt>
                <c:pt idx="3483">
                  <c:v>366</c:v>
                </c:pt>
                <c:pt idx="3484">
                  <c:v>387.5</c:v>
                </c:pt>
                <c:pt idx="3485">
                  <c:v>276.5</c:v>
                </c:pt>
                <c:pt idx="3486">
                  <c:v>277.5</c:v>
                </c:pt>
                <c:pt idx="3487">
                  <c:v>219.5</c:v>
                </c:pt>
                <c:pt idx="3488">
                  <c:v>158.5</c:v>
                </c:pt>
                <c:pt idx="3489">
                  <c:v>239</c:v>
                </c:pt>
                <c:pt idx="3490">
                  <c:v>293.5</c:v>
                </c:pt>
                <c:pt idx="3491">
                  <c:v>275.5</c:v>
                </c:pt>
                <c:pt idx="3492">
                  <c:v>216.5</c:v>
                </c:pt>
                <c:pt idx="3493">
                  <c:v>153</c:v>
                </c:pt>
                <c:pt idx="3494">
                  <c:v>145.5</c:v>
                </c:pt>
                <c:pt idx="3495">
                  <c:v>230.5</c:v>
                </c:pt>
                <c:pt idx="3496">
                  <c:v>251.5</c:v>
                </c:pt>
                <c:pt idx="3497">
                  <c:v>221.5</c:v>
                </c:pt>
                <c:pt idx="3498">
                  <c:v>129</c:v>
                </c:pt>
                <c:pt idx="3499">
                  <c:v>188</c:v>
                </c:pt>
                <c:pt idx="3500">
                  <c:v>303</c:v>
                </c:pt>
                <c:pt idx="3501">
                  <c:v>346.5</c:v>
                </c:pt>
                <c:pt idx="3502">
                  <c:v>310.5</c:v>
                </c:pt>
                <c:pt idx="3503">
                  <c:v>233.5</c:v>
                </c:pt>
                <c:pt idx="3504">
                  <c:v>231</c:v>
                </c:pt>
                <c:pt idx="3505">
                  <c:v>219</c:v>
                </c:pt>
                <c:pt idx="3506">
                  <c:v>120</c:v>
                </c:pt>
                <c:pt idx="3507">
                  <c:v>114</c:v>
                </c:pt>
                <c:pt idx="3508">
                  <c:v>83</c:v>
                </c:pt>
                <c:pt idx="3509">
                  <c:v>64.5</c:v>
                </c:pt>
                <c:pt idx="3510">
                  <c:v>73</c:v>
                </c:pt>
                <c:pt idx="3511">
                  <c:v>115.5</c:v>
                </c:pt>
                <c:pt idx="3512">
                  <c:v>225.5</c:v>
                </c:pt>
                <c:pt idx="3513">
                  <c:v>300</c:v>
                </c:pt>
                <c:pt idx="3514">
                  <c:v>275.5</c:v>
                </c:pt>
                <c:pt idx="3515">
                  <c:v>145</c:v>
                </c:pt>
                <c:pt idx="3516">
                  <c:v>151.5</c:v>
                </c:pt>
                <c:pt idx="3517">
                  <c:v>292.5</c:v>
                </c:pt>
                <c:pt idx="3518">
                  <c:v>329.5</c:v>
                </c:pt>
                <c:pt idx="3519">
                  <c:v>252.5</c:v>
                </c:pt>
                <c:pt idx="3520">
                  <c:v>250</c:v>
                </c:pt>
                <c:pt idx="3521">
                  <c:v>326</c:v>
                </c:pt>
                <c:pt idx="3522">
                  <c:v>391</c:v>
                </c:pt>
                <c:pt idx="3523">
                  <c:v>414</c:v>
                </c:pt>
                <c:pt idx="3524">
                  <c:v>365.5</c:v>
                </c:pt>
                <c:pt idx="3525">
                  <c:v>257</c:v>
                </c:pt>
                <c:pt idx="3526">
                  <c:v>228</c:v>
                </c:pt>
                <c:pt idx="3527">
                  <c:v>222.5</c:v>
                </c:pt>
                <c:pt idx="3528">
                  <c:v>157.5</c:v>
                </c:pt>
                <c:pt idx="3529">
                  <c:v>61.5</c:v>
                </c:pt>
                <c:pt idx="3530">
                  <c:v>100.5</c:v>
                </c:pt>
                <c:pt idx="3531">
                  <c:v>164.5</c:v>
                </c:pt>
                <c:pt idx="3532">
                  <c:v>217.5</c:v>
                </c:pt>
                <c:pt idx="3533">
                  <c:v>215</c:v>
                </c:pt>
                <c:pt idx="3534">
                  <c:v>217.5</c:v>
                </c:pt>
                <c:pt idx="3535">
                  <c:v>295.5</c:v>
                </c:pt>
                <c:pt idx="3536">
                  <c:v>381.5</c:v>
                </c:pt>
                <c:pt idx="3537">
                  <c:v>396</c:v>
                </c:pt>
                <c:pt idx="3538">
                  <c:v>342</c:v>
                </c:pt>
                <c:pt idx="3539">
                  <c:v>287.5</c:v>
                </c:pt>
                <c:pt idx="3540">
                  <c:v>157</c:v>
                </c:pt>
                <c:pt idx="3541">
                  <c:v>173</c:v>
                </c:pt>
                <c:pt idx="3542">
                  <c:v>464.5</c:v>
                </c:pt>
                <c:pt idx="3543">
                  <c:v>561</c:v>
                </c:pt>
                <c:pt idx="3544">
                  <c:v>413</c:v>
                </c:pt>
                <c:pt idx="3545">
                  <c:v>236.5</c:v>
                </c:pt>
                <c:pt idx="3546">
                  <c:v>217</c:v>
                </c:pt>
                <c:pt idx="3547">
                  <c:v>261</c:v>
                </c:pt>
                <c:pt idx="3548">
                  <c:v>236.5</c:v>
                </c:pt>
                <c:pt idx="3549">
                  <c:v>134.5</c:v>
                </c:pt>
                <c:pt idx="3550">
                  <c:v>233.5</c:v>
                </c:pt>
                <c:pt idx="3551">
                  <c:v>294</c:v>
                </c:pt>
                <c:pt idx="3552">
                  <c:v>274</c:v>
                </c:pt>
                <c:pt idx="3553">
                  <c:v>231</c:v>
                </c:pt>
                <c:pt idx="3554">
                  <c:v>282.5</c:v>
                </c:pt>
                <c:pt idx="3555">
                  <c:v>388</c:v>
                </c:pt>
                <c:pt idx="3556">
                  <c:v>388.5</c:v>
                </c:pt>
                <c:pt idx="3557">
                  <c:v>326</c:v>
                </c:pt>
                <c:pt idx="3558">
                  <c:v>234</c:v>
                </c:pt>
                <c:pt idx="3559">
                  <c:v>69</c:v>
                </c:pt>
                <c:pt idx="3560">
                  <c:v>172.5</c:v>
                </c:pt>
                <c:pt idx="3561">
                  <c:v>331.5</c:v>
                </c:pt>
                <c:pt idx="3562">
                  <c:v>355</c:v>
                </c:pt>
                <c:pt idx="3563">
                  <c:v>270.5</c:v>
                </c:pt>
                <c:pt idx="3564">
                  <c:v>194.5</c:v>
                </c:pt>
                <c:pt idx="3565">
                  <c:v>145.5</c:v>
                </c:pt>
                <c:pt idx="3566">
                  <c:v>138</c:v>
                </c:pt>
                <c:pt idx="3567">
                  <c:v>133.5</c:v>
                </c:pt>
                <c:pt idx="3568">
                  <c:v>172</c:v>
                </c:pt>
                <c:pt idx="3569">
                  <c:v>278.5</c:v>
                </c:pt>
                <c:pt idx="3570">
                  <c:v>286</c:v>
                </c:pt>
                <c:pt idx="3571">
                  <c:v>194.5</c:v>
                </c:pt>
                <c:pt idx="3572">
                  <c:v>160.5</c:v>
                </c:pt>
                <c:pt idx="3573">
                  <c:v>308.5</c:v>
                </c:pt>
                <c:pt idx="3574">
                  <c:v>305.5</c:v>
                </c:pt>
                <c:pt idx="3575">
                  <c:v>242.5</c:v>
                </c:pt>
                <c:pt idx="3576">
                  <c:v>157.5</c:v>
                </c:pt>
                <c:pt idx="3577">
                  <c:v>99.5</c:v>
                </c:pt>
                <c:pt idx="3578">
                  <c:v>136</c:v>
                </c:pt>
                <c:pt idx="3579">
                  <c:v>143.5</c:v>
                </c:pt>
                <c:pt idx="3580">
                  <c:v>179.5</c:v>
                </c:pt>
                <c:pt idx="3581">
                  <c:v>228</c:v>
                </c:pt>
                <c:pt idx="3582">
                  <c:v>202</c:v>
                </c:pt>
                <c:pt idx="3583">
                  <c:v>179</c:v>
                </c:pt>
                <c:pt idx="3584">
                  <c:v>277</c:v>
                </c:pt>
                <c:pt idx="3585">
                  <c:v>314</c:v>
                </c:pt>
                <c:pt idx="3586">
                  <c:v>252</c:v>
                </c:pt>
                <c:pt idx="3587">
                  <c:v>217</c:v>
                </c:pt>
                <c:pt idx="3588">
                  <c:v>205.5</c:v>
                </c:pt>
                <c:pt idx="3589">
                  <c:v>156.5</c:v>
                </c:pt>
                <c:pt idx="3590">
                  <c:v>216.5</c:v>
                </c:pt>
                <c:pt idx="3591">
                  <c:v>234</c:v>
                </c:pt>
                <c:pt idx="3592">
                  <c:v>165</c:v>
                </c:pt>
                <c:pt idx="3593">
                  <c:v>229</c:v>
                </c:pt>
                <c:pt idx="3594">
                  <c:v>247</c:v>
                </c:pt>
                <c:pt idx="3595">
                  <c:v>413</c:v>
                </c:pt>
                <c:pt idx="3596">
                  <c:v>513</c:v>
                </c:pt>
                <c:pt idx="3597">
                  <c:v>456</c:v>
                </c:pt>
                <c:pt idx="3598">
                  <c:v>308</c:v>
                </c:pt>
                <c:pt idx="3599">
                  <c:v>172</c:v>
                </c:pt>
                <c:pt idx="3600">
                  <c:v>152.5</c:v>
                </c:pt>
                <c:pt idx="3601">
                  <c:v>148</c:v>
                </c:pt>
                <c:pt idx="3602">
                  <c:v>259.5</c:v>
                </c:pt>
                <c:pt idx="3603">
                  <c:v>422.5</c:v>
                </c:pt>
                <c:pt idx="3604">
                  <c:v>379.5</c:v>
                </c:pt>
                <c:pt idx="3605">
                  <c:v>185</c:v>
                </c:pt>
                <c:pt idx="3606">
                  <c:v>199</c:v>
                </c:pt>
                <c:pt idx="3607">
                  <c:v>177.5</c:v>
                </c:pt>
                <c:pt idx="3608">
                  <c:v>160</c:v>
                </c:pt>
                <c:pt idx="3609">
                  <c:v>263.5</c:v>
                </c:pt>
                <c:pt idx="3610">
                  <c:v>323</c:v>
                </c:pt>
                <c:pt idx="3611">
                  <c:v>255.5</c:v>
                </c:pt>
                <c:pt idx="3612">
                  <c:v>272</c:v>
                </c:pt>
                <c:pt idx="3613">
                  <c:v>356.5</c:v>
                </c:pt>
                <c:pt idx="3614">
                  <c:v>356</c:v>
                </c:pt>
                <c:pt idx="3615">
                  <c:v>240</c:v>
                </c:pt>
                <c:pt idx="3616">
                  <c:v>120</c:v>
                </c:pt>
                <c:pt idx="3617">
                  <c:v>213.5</c:v>
                </c:pt>
                <c:pt idx="3618">
                  <c:v>258</c:v>
                </c:pt>
                <c:pt idx="3619">
                  <c:v>175.5</c:v>
                </c:pt>
                <c:pt idx="3620">
                  <c:v>178.5</c:v>
                </c:pt>
                <c:pt idx="3621">
                  <c:v>376</c:v>
                </c:pt>
                <c:pt idx="3622">
                  <c:v>502</c:v>
                </c:pt>
                <c:pt idx="3623">
                  <c:v>451.5</c:v>
                </c:pt>
                <c:pt idx="3624">
                  <c:v>330.5</c:v>
                </c:pt>
                <c:pt idx="3625">
                  <c:v>229.5</c:v>
                </c:pt>
                <c:pt idx="3626">
                  <c:v>209.5</c:v>
                </c:pt>
                <c:pt idx="3627">
                  <c:v>276.5</c:v>
                </c:pt>
                <c:pt idx="3628">
                  <c:v>415.5</c:v>
                </c:pt>
                <c:pt idx="3629">
                  <c:v>437.5</c:v>
                </c:pt>
                <c:pt idx="3630">
                  <c:v>340</c:v>
                </c:pt>
                <c:pt idx="3631">
                  <c:v>484</c:v>
                </c:pt>
                <c:pt idx="3632">
                  <c:v>545.5</c:v>
                </c:pt>
                <c:pt idx="3633">
                  <c:v>368.5</c:v>
                </c:pt>
                <c:pt idx="3634">
                  <c:v>284</c:v>
                </c:pt>
                <c:pt idx="3635">
                  <c:v>286</c:v>
                </c:pt>
                <c:pt idx="3636">
                  <c:v>340</c:v>
                </c:pt>
                <c:pt idx="3637">
                  <c:v>243.5</c:v>
                </c:pt>
                <c:pt idx="3638">
                  <c:v>140</c:v>
                </c:pt>
                <c:pt idx="3639">
                  <c:v>186.5</c:v>
                </c:pt>
                <c:pt idx="3640">
                  <c:v>125.5</c:v>
                </c:pt>
                <c:pt idx="3641">
                  <c:v>169</c:v>
                </c:pt>
                <c:pt idx="3642">
                  <c:v>232.5</c:v>
                </c:pt>
                <c:pt idx="3643">
                  <c:v>228</c:v>
                </c:pt>
                <c:pt idx="3644">
                  <c:v>197</c:v>
                </c:pt>
                <c:pt idx="3645">
                  <c:v>291.5</c:v>
                </c:pt>
                <c:pt idx="3646">
                  <c:v>374.5</c:v>
                </c:pt>
                <c:pt idx="3647">
                  <c:v>339</c:v>
                </c:pt>
                <c:pt idx="3648">
                  <c:v>481</c:v>
                </c:pt>
                <c:pt idx="3649">
                  <c:v>494</c:v>
                </c:pt>
                <c:pt idx="3650">
                  <c:v>313.5</c:v>
                </c:pt>
                <c:pt idx="3651">
                  <c:v>323</c:v>
                </c:pt>
                <c:pt idx="3652">
                  <c:v>183.5</c:v>
                </c:pt>
                <c:pt idx="3653">
                  <c:v>152</c:v>
                </c:pt>
                <c:pt idx="3654">
                  <c:v>147</c:v>
                </c:pt>
                <c:pt idx="3655">
                  <c:v>199.5</c:v>
                </c:pt>
                <c:pt idx="3656">
                  <c:v>302</c:v>
                </c:pt>
                <c:pt idx="3657">
                  <c:v>288.5</c:v>
                </c:pt>
                <c:pt idx="3658">
                  <c:v>203</c:v>
                </c:pt>
                <c:pt idx="3659">
                  <c:v>183</c:v>
                </c:pt>
                <c:pt idx="3660">
                  <c:v>179</c:v>
                </c:pt>
                <c:pt idx="3661">
                  <c:v>104.5</c:v>
                </c:pt>
                <c:pt idx="3662">
                  <c:v>190.5</c:v>
                </c:pt>
                <c:pt idx="3663">
                  <c:v>253</c:v>
                </c:pt>
                <c:pt idx="3664">
                  <c:v>278.5</c:v>
                </c:pt>
                <c:pt idx="3665">
                  <c:v>315.5</c:v>
                </c:pt>
                <c:pt idx="3666">
                  <c:v>187.5</c:v>
                </c:pt>
                <c:pt idx="3667">
                  <c:v>176</c:v>
                </c:pt>
                <c:pt idx="3668">
                  <c:v>280</c:v>
                </c:pt>
                <c:pt idx="3669">
                  <c:v>346.5</c:v>
                </c:pt>
                <c:pt idx="3670">
                  <c:v>387</c:v>
                </c:pt>
                <c:pt idx="3671">
                  <c:v>412</c:v>
                </c:pt>
                <c:pt idx="3672">
                  <c:v>446.5</c:v>
                </c:pt>
                <c:pt idx="3673">
                  <c:v>437</c:v>
                </c:pt>
                <c:pt idx="3674">
                  <c:v>354.5</c:v>
                </c:pt>
                <c:pt idx="3675">
                  <c:v>223.5</c:v>
                </c:pt>
                <c:pt idx="3676">
                  <c:v>151.5</c:v>
                </c:pt>
                <c:pt idx="3677">
                  <c:v>159</c:v>
                </c:pt>
                <c:pt idx="3678">
                  <c:v>193</c:v>
                </c:pt>
                <c:pt idx="3679">
                  <c:v>301</c:v>
                </c:pt>
                <c:pt idx="3680">
                  <c:v>392</c:v>
                </c:pt>
                <c:pt idx="3681">
                  <c:v>449</c:v>
                </c:pt>
                <c:pt idx="3682">
                  <c:v>491.5</c:v>
                </c:pt>
                <c:pt idx="3683">
                  <c:v>377.5</c:v>
                </c:pt>
                <c:pt idx="3684">
                  <c:v>220</c:v>
                </c:pt>
                <c:pt idx="3685">
                  <c:v>247</c:v>
                </c:pt>
                <c:pt idx="3686">
                  <c:v>336</c:v>
                </c:pt>
                <c:pt idx="3687">
                  <c:v>353.5</c:v>
                </c:pt>
                <c:pt idx="3688">
                  <c:v>200.5</c:v>
                </c:pt>
                <c:pt idx="3689">
                  <c:v>59</c:v>
                </c:pt>
                <c:pt idx="3690">
                  <c:v>204.5</c:v>
                </c:pt>
                <c:pt idx="3691">
                  <c:v>309.5</c:v>
                </c:pt>
                <c:pt idx="3692">
                  <c:v>375.5</c:v>
                </c:pt>
                <c:pt idx="3693">
                  <c:v>370</c:v>
                </c:pt>
                <c:pt idx="3694">
                  <c:v>344.5</c:v>
                </c:pt>
                <c:pt idx="3695">
                  <c:v>320</c:v>
                </c:pt>
                <c:pt idx="3696">
                  <c:v>277</c:v>
                </c:pt>
                <c:pt idx="3697">
                  <c:v>294.5</c:v>
                </c:pt>
                <c:pt idx="3698">
                  <c:v>446</c:v>
                </c:pt>
                <c:pt idx="3699">
                  <c:v>524</c:v>
                </c:pt>
                <c:pt idx="3700">
                  <c:v>491.5</c:v>
                </c:pt>
                <c:pt idx="3701">
                  <c:v>418.5</c:v>
                </c:pt>
                <c:pt idx="3702">
                  <c:v>290.5</c:v>
                </c:pt>
                <c:pt idx="3703">
                  <c:v>292.5</c:v>
                </c:pt>
                <c:pt idx="3704">
                  <c:v>349.5</c:v>
                </c:pt>
                <c:pt idx="3705">
                  <c:v>442.5</c:v>
                </c:pt>
                <c:pt idx="3706">
                  <c:v>473.5</c:v>
                </c:pt>
                <c:pt idx="3707">
                  <c:v>426.5</c:v>
                </c:pt>
                <c:pt idx="3708">
                  <c:v>372</c:v>
                </c:pt>
                <c:pt idx="3709">
                  <c:v>338</c:v>
                </c:pt>
                <c:pt idx="3710">
                  <c:v>264</c:v>
                </c:pt>
                <c:pt idx="3711">
                  <c:v>232</c:v>
                </c:pt>
                <c:pt idx="3712">
                  <c:v>296.5</c:v>
                </c:pt>
                <c:pt idx="3713">
                  <c:v>212</c:v>
                </c:pt>
                <c:pt idx="3714">
                  <c:v>152.5</c:v>
                </c:pt>
                <c:pt idx="3715">
                  <c:v>233.5</c:v>
                </c:pt>
                <c:pt idx="3716">
                  <c:v>206</c:v>
                </c:pt>
                <c:pt idx="3717">
                  <c:v>258.5</c:v>
                </c:pt>
                <c:pt idx="3718">
                  <c:v>431.5</c:v>
                </c:pt>
                <c:pt idx="3719">
                  <c:v>551</c:v>
                </c:pt>
                <c:pt idx="3720">
                  <c:v>535</c:v>
                </c:pt>
                <c:pt idx="3721">
                  <c:v>385</c:v>
                </c:pt>
                <c:pt idx="3722">
                  <c:v>169</c:v>
                </c:pt>
                <c:pt idx="3723">
                  <c:v>257.5</c:v>
                </c:pt>
                <c:pt idx="3724">
                  <c:v>425</c:v>
                </c:pt>
                <c:pt idx="3725">
                  <c:v>435.5</c:v>
                </c:pt>
                <c:pt idx="3726">
                  <c:v>301.5</c:v>
                </c:pt>
                <c:pt idx="3727">
                  <c:v>303.5</c:v>
                </c:pt>
                <c:pt idx="3728">
                  <c:v>343</c:v>
                </c:pt>
                <c:pt idx="3729">
                  <c:v>372.5</c:v>
                </c:pt>
                <c:pt idx="3730">
                  <c:v>244.5</c:v>
                </c:pt>
                <c:pt idx="3731">
                  <c:v>221.5</c:v>
                </c:pt>
                <c:pt idx="3732">
                  <c:v>286</c:v>
                </c:pt>
                <c:pt idx="3733">
                  <c:v>227.5</c:v>
                </c:pt>
                <c:pt idx="3734">
                  <c:v>412</c:v>
                </c:pt>
                <c:pt idx="3735">
                  <c:v>659.5</c:v>
                </c:pt>
                <c:pt idx="3736">
                  <c:v>629</c:v>
                </c:pt>
                <c:pt idx="3737">
                  <c:v>548.5</c:v>
                </c:pt>
                <c:pt idx="3738">
                  <c:v>487.5</c:v>
                </c:pt>
                <c:pt idx="3739">
                  <c:v>244.5</c:v>
                </c:pt>
                <c:pt idx="3740">
                  <c:v>201.5</c:v>
                </c:pt>
                <c:pt idx="3741">
                  <c:v>136.5</c:v>
                </c:pt>
                <c:pt idx="3742">
                  <c:v>329</c:v>
                </c:pt>
                <c:pt idx="3743">
                  <c:v>372.5</c:v>
                </c:pt>
                <c:pt idx="3744">
                  <c:v>401.5</c:v>
                </c:pt>
                <c:pt idx="3745">
                  <c:v>491.5</c:v>
                </c:pt>
                <c:pt idx="3746">
                  <c:v>596.5</c:v>
                </c:pt>
                <c:pt idx="3747">
                  <c:v>564</c:v>
                </c:pt>
                <c:pt idx="3748">
                  <c:v>466</c:v>
                </c:pt>
                <c:pt idx="3749">
                  <c:v>486.5</c:v>
                </c:pt>
                <c:pt idx="3750">
                  <c:v>592.5</c:v>
                </c:pt>
                <c:pt idx="3751">
                  <c:v>583.5</c:v>
                </c:pt>
                <c:pt idx="3752">
                  <c:v>426</c:v>
                </c:pt>
                <c:pt idx="3753">
                  <c:v>318</c:v>
                </c:pt>
                <c:pt idx="3754">
                  <c:v>215</c:v>
                </c:pt>
                <c:pt idx="3755">
                  <c:v>262</c:v>
                </c:pt>
                <c:pt idx="3756">
                  <c:v>267.5</c:v>
                </c:pt>
                <c:pt idx="3757">
                  <c:v>366.5</c:v>
                </c:pt>
                <c:pt idx="3758">
                  <c:v>438.5</c:v>
                </c:pt>
                <c:pt idx="3759">
                  <c:v>420.5</c:v>
                </c:pt>
                <c:pt idx="3760">
                  <c:v>404.5</c:v>
                </c:pt>
                <c:pt idx="3761">
                  <c:v>355.5</c:v>
                </c:pt>
                <c:pt idx="3762">
                  <c:v>153.5</c:v>
                </c:pt>
                <c:pt idx="3763">
                  <c:v>189.5</c:v>
                </c:pt>
                <c:pt idx="3764">
                  <c:v>365.5</c:v>
                </c:pt>
                <c:pt idx="3765">
                  <c:v>349.5</c:v>
                </c:pt>
                <c:pt idx="3766">
                  <c:v>202</c:v>
                </c:pt>
                <c:pt idx="3767">
                  <c:v>170</c:v>
                </c:pt>
                <c:pt idx="3768">
                  <c:v>240.5</c:v>
                </c:pt>
                <c:pt idx="3769">
                  <c:v>282</c:v>
                </c:pt>
                <c:pt idx="3770">
                  <c:v>345.5</c:v>
                </c:pt>
                <c:pt idx="3771">
                  <c:v>347.5</c:v>
                </c:pt>
                <c:pt idx="3772">
                  <c:v>347.5</c:v>
                </c:pt>
                <c:pt idx="3773">
                  <c:v>260.5</c:v>
                </c:pt>
                <c:pt idx="3774">
                  <c:v>102</c:v>
                </c:pt>
                <c:pt idx="3775">
                  <c:v>170.5</c:v>
                </c:pt>
                <c:pt idx="3776">
                  <c:v>309</c:v>
                </c:pt>
                <c:pt idx="3777">
                  <c:v>318.5</c:v>
                </c:pt>
                <c:pt idx="3778">
                  <c:v>416.5</c:v>
                </c:pt>
                <c:pt idx="3779">
                  <c:v>418.5</c:v>
                </c:pt>
                <c:pt idx="3780">
                  <c:v>372.5</c:v>
                </c:pt>
                <c:pt idx="3781">
                  <c:v>484.5</c:v>
                </c:pt>
                <c:pt idx="3782">
                  <c:v>602</c:v>
                </c:pt>
                <c:pt idx="3783">
                  <c:v>593</c:v>
                </c:pt>
                <c:pt idx="3784">
                  <c:v>534.5</c:v>
                </c:pt>
                <c:pt idx="3785">
                  <c:v>481.5</c:v>
                </c:pt>
                <c:pt idx="3786">
                  <c:v>468.5</c:v>
                </c:pt>
                <c:pt idx="3787">
                  <c:v>454</c:v>
                </c:pt>
                <c:pt idx="3788">
                  <c:v>454</c:v>
                </c:pt>
                <c:pt idx="3789">
                  <c:v>344</c:v>
                </c:pt>
                <c:pt idx="3790">
                  <c:v>244.5</c:v>
                </c:pt>
                <c:pt idx="3791">
                  <c:v>207.5</c:v>
                </c:pt>
                <c:pt idx="3792">
                  <c:v>236</c:v>
                </c:pt>
                <c:pt idx="3793">
                  <c:v>266</c:v>
                </c:pt>
                <c:pt idx="3794">
                  <c:v>277.5</c:v>
                </c:pt>
                <c:pt idx="3795">
                  <c:v>376</c:v>
                </c:pt>
                <c:pt idx="3796">
                  <c:v>463.5</c:v>
                </c:pt>
                <c:pt idx="3797">
                  <c:v>458</c:v>
                </c:pt>
                <c:pt idx="3798">
                  <c:v>364.5</c:v>
                </c:pt>
                <c:pt idx="3799">
                  <c:v>298</c:v>
                </c:pt>
                <c:pt idx="3800">
                  <c:v>310</c:v>
                </c:pt>
                <c:pt idx="3801">
                  <c:v>103</c:v>
                </c:pt>
                <c:pt idx="3802">
                  <c:v>156</c:v>
                </c:pt>
                <c:pt idx="3803">
                  <c:v>310</c:v>
                </c:pt>
                <c:pt idx="3804">
                  <c:v>421</c:v>
                </c:pt>
                <c:pt idx="3805">
                  <c:v>431</c:v>
                </c:pt>
                <c:pt idx="3806">
                  <c:v>376.5</c:v>
                </c:pt>
                <c:pt idx="3807">
                  <c:v>355.5</c:v>
                </c:pt>
                <c:pt idx="3808">
                  <c:v>499.5</c:v>
                </c:pt>
                <c:pt idx="3809">
                  <c:v>451</c:v>
                </c:pt>
                <c:pt idx="3810">
                  <c:v>370</c:v>
                </c:pt>
                <c:pt idx="3811">
                  <c:v>400</c:v>
                </c:pt>
                <c:pt idx="3812">
                  <c:v>463</c:v>
                </c:pt>
                <c:pt idx="3813">
                  <c:v>433</c:v>
                </c:pt>
                <c:pt idx="3814">
                  <c:v>337.5</c:v>
                </c:pt>
                <c:pt idx="3815">
                  <c:v>369</c:v>
                </c:pt>
                <c:pt idx="3816">
                  <c:v>402.5</c:v>
                </c:pt>
                <c:pt idx="3817">
                  <c:v>376.5</c:v>
                </c:pt>
                <c:pt idx="3818">
                  <c:v>391</c:v>
                </c:pt>
                <c:pt idx="3819">
                  <c:v>422</c:v>
                </c:pt>
                <c:pt idx="3820">
                  <c:v>348</c:v>
                </c:pt>
                <c:pt idx="3821">
                  <c:v>198</c:v>
                </c:pt>
                <c:pt idx="3822">
                  <c:v>227</c:v>
                </c:pt>
                <c:pt idx="3823">
                  <c:v>132</c:v>
                </c:pt>
                <c:pt idx="3824">
                  <c:v>238</c:v>
                </c:pt>
                <c:pt idx="3825">
                  <c:v>289</c:v>
                </c:pt>
                <c:pt idx="3826">
                  <c:v>264</c:v>
                </c:pt>
                <c:pt idx="3827">
                  <c:v>226</c:v>
                </c:pt>
                <c:pt idx="3828">
                  <c:v>281.5</c:v>
                </c:pt>
                <c:pt idx="3829">
                  <c:v>392</c:v>
                </c:pt>
                <c:pt idx="3830">
                  <c:v>455.5</c:v>
                </c:pt>
                <c:pt idx="3831">
                  <c:v>508.5</c:v>
                </c:pt>
                <c:pt idx="3832">
                  <c:v>446</c:v>
                </c:pt>
                <c:pt idx="3833">
                  <c:v>329</c:v>
                </c:pt>
                <c:pt idx="3834">
                  <c:v>307.5</c:v>
                </c:pt>
                <c:pt idx="3835">
                  <c:v>413.5</c:v>
                </c:pt>
                <c:pt idx="3836">
                  <c:v>526.5</c:v>
                </c:pt>
                <c:pt idx="3837">
                  <c:v>487</c:v>
                </c:pt>
                <c:pt idx="3838">
                  <c:v>398.5</c:v>
                </c:pt>
                <c:pt idx="3839">
                  <c:v>494.5</c:v>
                </c:pt>
                <c:pt idx="3840">
                  <c:v>485</c:v>
                </c:pt>
                <c:pt idx="3841">
                  <c:v>310</c:v>
                </c:pt>
                <c:pt idx="3842">
                  <c:v>225</c:v>
                </c:pt>
                <c:pt idx="3843">
                  <c:v>220.5</c:v>
                </c:pt>
                <c:pt idx="3844">
                  <c:v>327.5</c:v>
                </c:pt>
                <c:pt idx="3845">
                  <c:v>391</c:v>
                </c:pt>
                <c:pt idx="3846">
                  <c:v>397</c:v>
                </c:pt>
                <c:pt idx="3847">
                  <c:v>231</c:v>
                </c:pt>
                <c:pt idx="3848">
                  <c:v>167</c:v>
                </c:pt>
                <c:pt idx="3849">
                  <c:v>421.5</c:v>
                </c:pt>
                <c:pt idx="3850">
                  <c:v>442.5</c:v>
                </c:pt>
                <c:pt idx="3851">
                  <c:v>256.5</c:v>
                </c:pt>
                <c:pt idx="3852">
                  <c:v>276</c:v>
                </c:pt>
                <c:pt idx="3853">
                  <c:v>356.5</c:v>
                </c:pt>
                <c:pt idx="3854">
                  <c:v>467.5</c:v>
                </c:pt>
                <c:pt idx="3855">
                  <c:v>505.5</c:v>
                </c:pt>
                <c:pt idx="3856">
                  <c:v>408.5</c:v>
                </c:pt>
                <c:pt idx="3857">
                  <c:v>496.5</c:v>
                </c:pt>
                <c:pt idx="3858">
                  <c:v>365</c:v>
                </c:pt>
                <c:pt idx="3859">
                  <c:v>296.5</c:v>
                </c:pt>
                <c:pt idx="3860">
                  <c:v>291.5</c:v>
                </c:pt>
                <c:pt idx="3861">
                  <c:v>221.5</c:v>
                </c:pt>
                <c:pt idx="3862">
                  <c:v>379</c:v>
                </c:pt>
                <c:pt idx="3863">
                  <c:v>535</c:v>
                </c:pt>
                <c:pt idx="3864">
                  <c:v>454.5</c:v>
                </c:pt>
                <c:pt idx="3865">
                  <c:v>336</c:v>
                </c:pt>
                <c:pt idx="3866">
                  <c:v>429</c:v>
                </c:pt>
                <c:pt idx="3867">
                  <c:v>492.5</c:v>
                </c:pt>
                <c:pt idx="3868">
                  <c:v>413.5</c:v>
                </c:pt>
                <c:pt idx="3869">
                  <c:v>440.5</c:v>
                </c:pt>
                <c:pt idx="3870">
                  <c:v>417.5</c:v>
                </c:pt>
                <c:pt idx="3871">
                  <c:v>370</c:v>
                </c:pt>
                <c:pt idx="3872">
                  <c:v>392</c:v>
                </c:pt>
                <c:pt idx="3873">
                  <c:v>422.5</c:v>
                </c:pt>
                <c:pt idx="3874">
                  <c:v>370</c:v>
                </c:pt>
                <c:pt idx="3875">
                  <c:v>468</c:v>
                </c:pt>
                <c:pt idx="3876">
                  <c:v>496</c:v>
                </c:pt>
                <c:pt idx="3877">
                  <c:v>377.5</c:v>
                </c:pt>
                <c:pt idx="3878">
                  <c:v>199</c:v>
                </c:pt>
                <c:pt idx="3879">
                  <c:v>263.5</c:v>
                </c:pt>
                <c:pt idx="3880">
                  <c:v>336.5</c:v>
                </c:pt>
                <c:pt idx="3881">
                  <c:v>367.5</c:v>
                </c:pt>
                <c:pt idx="3882">
                  <c:v>277.5</c:v>
                </c:pt>
                <c:pt idx="3883">
                  <c:v>384</c:v>
                </c:pt>
                <c:pt idx="3884">
                  <c:v>288.5</c:v>
                </c:pt>
                <c:pt idx="3885">
                  <c:v>249</c:v>
                </c:pt>
                <c:pt idx="3886">
                  <c:v>292</c:v>
                </c:pt>
                <c:pt idx="3887">
                  <c:v>510</c:v>
                </c:pt>
                <c:pt idx="3888">
                  <c:v>700.5</c:v>
                </c:pt>
                <c:pt idx="3889">
                  <c:v>641</c:v>
                </c:pt>
                <c:pt idx="3890">
                  <c:v>395</c:v>
                </c:pt>
                <c:pt idx="3891">
                  <c:v>120.5</c:v>
                </c:pt>
                <c:pt idx="3892">
                  <c:v>148</c:v>
                </c:pt>
                <c:pt idx="3893">
                  <c:v>319.5</c:v>
                </c:pt>
                <c:pt idx="3894">
                  <c:v>439</c:v>
                </c:pt>
                <c:pt idx="3895">
                  <c:v>465.5</c:v>
                </c:pt>
                <c:pt idx="3896">
                  <c:v>366</c:v>
                </c:pt>
                <c:pt idx="3897">
                  <c:v>299</c:v>
                </c:pt>
                <c:pt idx="3898">
                  <c:v>380.5</c:v>
                </c:pt>
                <c:pt idx="3899">
                  <c:v>345.5</c:v>
                </c:pt>
                <c:pt idx="3900">
                  <c:v>327</c:v>
                </c:pt>
                <c:pt idx="3901">
                  <c:v>439</c:v>
                </c:pt>
                <c:pt idx="3902">
                  <c:v>423</c:v>
                </c:pt>
                <c:pt idx="3903">
                  <c:v>341.5</c:v>
                </c:pt>
                <c:pt idx="3904">
                  <c:v>289.5</c:v>
                </c:pt>
                <c:pt idx="3905">
                  <c:v>228.5</c:v>
                </c:pt>
                <c:pt idx="3906">
                  <c:v>151</c:v>
                </c:pt>
                <c:pt idx="3907">
                  <c:v>336.5</c:v>
                </c:pt>
                <c:pt idx="3908">
                  <c:v>465</c:v>
                </c:pt>
                <c:pt idx="3909">
                  <c:v>423.5</c:v>
                </c:pt>
                <c:pt idx="3910">
                  <c:v>424</c:v>
                </c:pt>
                <c:pt idx="3911">
                  <c:v>537</c:v>
                </c:pt>
                <c:pt idx="3912">
                  <c:v>688.5</c:v>
                </c:pt>
                <c:pt idx="3913">
                  <c:v>829.5</c:v>
                </c:pt>
                <c:pt idx="3914">
                  <c:v>795</c:v>
                </c:pt>
                <c:pt idx="3915">
                  <c:v>495</c:v>
                </c:pt>
                <c:pt idx="3916">
                  <c:v>163.5</c:v>
                </c:pt>
                <c:pt idx="3917">
                  <c:v>342</c:v>
                </c:pt>
                <c:pt idx="3918">
                  <c:v>366.5</c:v>
                </c:pt>
                <c:pt idx="3919">
                  <c:v>369.5</c:v>
                </c:pt>
                <c:pt idx="3920">
                  <c:v>433.5</c:v>
                </c:pt>
                <c:pt idx="3921">
                  <c:v>430</c:v>
                </c:pt>
                <c:pt idx="3922">
                  <c:v>362.5</c:v>
                </c:pt>
                <c:pt idx="3923">
                  <c:v>444.5</c:v>
                </c:pt>
                <c:pt idx="3924">
                  <c:v>389</c:v>
                </c:pt>
                <c:pt idx="3925">
                  <c:v>369.5</c:v>
                </c:pt>
                <c:pt idx="3926">
                  <c:v>468.5</c:v>
                </c:pt>
                <c:pt idx="3927">
                  <c:v>529</c:v>
                </c:pt>
                <c:pt idx="3928">
                  <c:v>410</c:v>
                </c:pt>
                <c:pt idx="3929">
                  <c:v>302.5</c:v>
                </c:pt>
                <c:pt idx="3930">
                  <c:v>293.5</c:v>
                </c:pt>
                <c:pt idx="3931">
                  <c:v>252.5</c:v>
                </c:pt>
                <c:pt idx="3932">
                  <c:v>246</c:v>
                </c:pt>
                <c:pt idx="3933">
                  <c:v>289</c:v>
                </c:pt>
                <c:pt idx="3934">
                  <c:v>321</c:v>
                </c:pt>
                <c:pt idx="3935">
                  <c:v>299</c:v>
                </c:pt>
                <c:pt idx="3936">
                  <c:v>345</c:v>
                </c:pt>
                <c:pt idx="3937">
                  <c:v>327.5</c:v>
                </c:pt>
                <c:pt idx="3938">
                  <c:v>561.5</c:v>
                </c:pt>
                <c:pt idx="3939">
                  <c:v>679</c:v>
                </c:pt>
                <c:pt idx="3940">
                  <c:v>514</c:v>
                </c:pt>
                <c:pt idx="3941">
                  <c:v>246</c:v>
                </c:pt>
                <c:pt idx="3942">
                  <c:v>236.5</c:v>
                </c:pt>
                <c:pt idx="3943">
                  <c:v>321</c:v>
                </c:pt>
                <c:pt idx="3944">
                  <c:v>376.5</c:v>
                </c:pt>
                <c:pt idx="3945">
                  <c:v>336</c:v>
                </c:pt>
                <c:pt idx="3946">
                  <c:v>432</c:v>
                </c:pt>
                <c:pt idx="3947">
                  <c:v>508</c:v>
                </c:pt>
                <c:pt idx="3948">
                  <c:v>478</c:v>
                </c:pt>
                <c:pt idx="3949">
                  <c:v>356</c:v>
                </c:pt>
                <c:pt idx="3950">
                  <c:v>557</c:v>
                </c:pt>
                <c:pt idx="3951">
                  <c:v>558.5</c:v>
                </c:pt>
                <c:pt idx="3952">
                  <c:v>415.5</c:v>
                </c:pt>
                <c:pt idx="3953">
                  <c:v>390.5</c:v>
                </c:pt>
                <c:pt idx="3954">
                  <c:v>384</c:v>
                </c:pt>
                <c:pt idx="3955">
                  <c:v>339.5</c:v>
                </c:pt>
                <c:pt idx="3956">
                  <c:v>390.5</c:v>
                </c:pt>
                <c:pt idx="3957">
                  <c:v>397</c:v>
                </c:pt>
                <c:pt idx="3958">
                  <c:v>357</c:v>
                </c:pt>
                <c:pt idx="3959">
                  <c:v>370.5</c:v>
                </c:pt>
                <c:pt idx="3960">
                  <c:v>310.5</c:v>
                </c:pt>
                <c:pt idx="3961">
                  <c:v>258.5</c:v>
                </c:pt>
                <c:pt idx="3962">
                  <c:v>383</c:v>
                </c:pt>
                <c:pt idx="3963">
                  <c:v>335</c:v>
                </c:pt>
                <c:pt idx="3964">
                  <c:v>187</c:v>
                </c:pt>
                <c:pt idx="3965">
                  <c:v>43.5</c:v>
                </c:pt>
                <c:pt idx="3966">
                  <c:v>242.5</c:v>
                </c:pt>
                <c:pt idx="3967">
                  <c:v>471.5</c:v>
                </c:pt>
                <c:pt idx="3968">
                  <c:v>570</c:v>
                </c:pt>
                <c:pt idx="3969">
                  <c:v>468.5</c:v>
                </c:pt>
                <c:pt idx="3970">
                  <c:v>360</c:v>
                </c:pt>
                <c:pt idx="3971">
                  <c:v>386</c:v>
                </c:pt>
                <c:pt idx="3972">
                  <c:v>376</c:v>
                </c:pt>
                <c:pt idx="3973">
                  <c:v>387.5</c:v>
                </c:pt>
                <c:pt idx="3974">
                  <c:v>555</c:v>
                </c:pt>
                <c:pt idx="3975">
                  <c:v>396</c:v>
                </c:pt>
                <c:pt idx="3976">
                  <c:v>413</c:v>
                </c:pt>
                <c:pt idx="3977">
                  <c:v>653.5</c:v>
                </c:pt>
                <c:pt idx="3978">
                  <c:v>702.5</c:v>
                </c:pt>
                <c:pt idx="3979">
                  <c:v>675</c:v>
                </c:pt>
                <c:pt idx="3980">
                  <c:v>526</c:v>
                </c:pt>
                <c:pt idx="3981">
                  <c:v>296.5</c:v>
                </c:pt>
                <c:pt idx="3982">
                  <c:v>244.5</c:v>
                </c:pt>
                <c:pt idx="3983">
                  <c:v>359</c:v>
                </c:pt>
                <c:pt idx="3984">
                  <c:v>298</c:v>
                </c:pt>
                <c:pt idx="3985">
                  <c:v>197</c:v>
                </c:pt>
                <c:pt idx="3986">
                  <c:v>313.5</c:v>
                </c:pt>
                <c:pt idx="3987">
                  <c:v>339</c:v>
                </c:pt>
                <c:pt idx="3988">
                  <c:v>412</c:v>
                </c:pt>
                <c:pt idx="3989">
                  <c:v>554.5</c:v>
                </c:pt>
                <c:pt idx="3990">
                  <c:v>652.5</c:v>
                </c:pt>
                <c:pt idx="3991">
                  <c:v>720</c:v>
                </c:pt>
                <c:pt idx="3992">
                  <c:v>685.5</c:v>
                </c:pt>
                <c:pt idx="3993">
                  <c:v>542.5</c:v>
                </c:pt>
                <c:pt idx="3994">
                  <c:v>404</c:v>
                </c:pt>
                <c:pt idx="3995">
                  <c:v>357.5</c:v>
                </c:pt>
                <c:pt idx="3996">
                  <c:v>433</c:v>
                </c:pt>
                <c:pt idx="3997">
                  <c:v>434.5</c:v>
                </c:pt>
                <c:pt idx="3998">
                  <c:v>448.5</c:v>
                </c:pt>
                <c:pt idx="3999">
                  <c:v>521</c:v>
                </c:pt>
                <c:pt idx="4000">
                  <c:v>577.5</c:v>
                </c:pt>
                <c:pt idx="4001">
                  <c:v>528</c:v>
                </c:pt>
                <c:pt idx="4002">
                  <c:v>517</c:v>
                </c:pt>
                <c:pt idx="4003">
                  <c:v>451</c:v>
                </c:pt>
                <c:pt idx="4004">
                  <c:v>369</c:v>
                </c:pt>
                <c:pt idx="4005">
                  <c:v>398.5</c:v>
                </c:pt>
                <c:pt idx="4006">
                  <c:v>659</c:v>
                </c:pt>
                <c:pt idx="4007">
                  <c:v>625.5</c:v>
                </c:pt>
                <c:pt idx="4008">
                  <c:v>333</c:v>
                </c:pt>
                <c:pt idx="4009">
                  <c:v>199.5</c:v>
                </c:pt>
                <c:pt idx="4010">
                  <c:v>452.5</c:v>
                </c:pt>
                <c:pt idx="4011">
                  <c:v>823.5</c:v>
                </c:pt>
                <c:pt idx="4012">
                  <c:v>866</c:v>
                </c:pt>
                <c:pt idx="4013">
                  <c:v>604.5</c:v>
                </c:pt>
                <c:pt idx="4014">
                  <c:v>410.5</c:v>
                </c:pt>
                <c:pt idx="4015">
                  <c:v>404</c:v>
                </c:pt>
                <c:pt idx="4016">
                  <c:v>394.5</c:v>
                </c:pt>
                <c:pt idx="4017">
                  <c:v>125.5</c:v>
                </c:pt>
                <c:pt idx="4018">
                  <c:v>319.5</c:v>
                </c:pt>
                <c:pt idx="4019">
                  <c:v>558</c:v>
                </c:pt>
                <c:pt idx="4020">
                  <c:v>551</c:v>
                </c:pt>
                <c:pt idx="4021">
                  <c:v>405.5</c:v>
                </c:pt>
                <c:pt idx="4022">
                  <c:v>194</c:v>
                </c:pt>
                <c:pt idx="4023">
                  <c:v>216</c:v>
                </c:pt>
                <c:pt idx="4024">
                  <c:v>382</c:v>
                </c:pt>
                <c:pt idx="4025">
                  <c:v>498</c:v>
                </c:pt>
                <c:pt idx="4026">
                  <c:v>633.5</c:v>
                </c:pt>
                <c:pt idx="4027">
                  <c:v>779.5</c:v>
                </c:pt>
                <c:pt idx="4028">
                  <c:v>729</c:v>
                </c:pt>
                <c:pt idx="4029">
                  <c:v>587.5</c:v>
                </c:pt>
                <c:pt idx="4030">
                  <c:v>561</c:v>
                </c:pt>
                <c:pt idx="4031">
                  <c:v>536</c:v>
                </c:pt>
                <c:pt idx="4032">
                  <c:v>407</c:v>
                </c:pt>
                <c:pt idx="4033">
                  <c:v>512</c:v>
                </c:pt>
                <c:pt idx="4034">
                  <c:v>610</c:v>
                </c:pt>
                <c:pt idx="4035">
                  <c:v>559</c:v>
                </c:pt>
                <c:pt idx="4036">
                  <c:v>498</c:v>
                </c:pt>
                <c:pt idx="4037">
                  <c:v>442.5</c:v>
                </c:pt>
                <c:pt idx="4038">
                  <c:v>478</c:v>
                </c:pt>
                <c:pt idx="4039">
                  <c:v>595</c:v>
                </c:pt>
                <c:pt idx="4040">
                  <c:v>685</c:v>
                </c:pt>
                <c:pt idx="4041">
                  <c:v>612.5</c:v>
                </c:pt>
                <c:pt idx="4042">
                  <c:v>435</c:v>
                </c:pt>
                <c:pt idx="4043">
                  <c:v>527</c:v>
                </c:pt>
                <c:pt idx="4044">
                  <c:v>519.5</c:v>
                </c:pt>
                <c:pt idx="4045">
                  <c:v>237</c:v>
                </c:pt>
                <c:pt idx="4046">
                  <c:v>246.5</c:v>
                </c:pt>
                <c:pt idx="4047">
                  <c:v>413.5</c:v>
                </c:pt>
                <c:pt idx="4048">
                  <c:v>466</c:v>
                </c:pt>
                <c:pt idx="4049">
                  <c:v>565</c:v>
                </c:pt>
                <c:pt idx="4050">
                  <c:v>373</c:v>
                </c:pt>
                <c:pt idx="4051">
                  <c:v>261.5</c:v>
                </c:pt>
                <c:pt idx="4052">
                  <c:v>346</c:v>
                </c:pt>
                <c:pt idx="4053">
                  <c:v>241</c:v>
                </c:pt>
                <c:pt idx="4054">
                  <c:v>277.5</c:v>
                </c:pt>
                <c:pt idx="4055">
                  <c:v>605</c:v>
                </c:pt>
                <c:pt idx="4056">
                  <c:v>730.5</c:v>
                </c:pt>
                <c:pt idx="4057">
                  <c:v>617</c:v>
                </c:pt>
                <c:pt idx="4058">
                  <c:v>551.5</c:v>
                </c:pt>
                <c:pt idx="4059">
                  <c:v>529.5</c:v>
                </c:pt>
                <c:pt idx="4060">
                  <c:v>499.5</c:v>
                </c:pt>
                <c:pt idx="4061">
                  <c:v>355</c:v>
                </c:pt>
                <c:pt idx="4062">
                  <c:v>269.5</c:v>
                </c:pt>
                <c:pt idx="4063">
                  <c:v>469</c:v>
                </c:pt>
                <c:pt idx="4064">
                  <c:v>686.5</c:v>
                </c:pt>
                <c:pt idx="4065">
                  <c:v>731</c:v>
                </c:pt>
                <c:pt idx="4066">
                  <c:v>512</c:v>
                </c:pt>
                <c:pt idx="4067">
                  <c:v>575</c:v>
                </c:pt>
                <c:pt idx="4068">
                  <c:v>443</c:v>
                </c:pt>
                <c:pt idx="4069">
                  <c:v>171.5</c:v>
                </c:pt>
                <c:pt idx="4070">
                  <c:v>373.5</c:v>
                </c:pt>
                <c:pt idx="4071">
                  <c:v>516.5</c:v>
                </c:pt>
                <c:pt idx="4072">
                  <c:v>417.5</c:v>
                </c:pt>
                <c:pt idx="4073">
                  <c:v>187.5</c:v>
                </c:pt>
                <c:pt idx="4074">
                  <c:v>367</c:v>
                </c:pt>
                <c:pt idx="4075">
                  <c:v>610</c:v>
                </c:pt>
                <c:pt idx="4076">
                  <c:v>804.5</c:v>
                </c:pt>
                <c:pt idx="4077">
                  <c:v>818</c:v>
                </c:pt>
                <c:pt idx="4078">
                  <c:v>613</c:v>
                </c:pt>
                <c:pt idx="4079">
                  <c:v>418</c:v>
                </c:pt>
                <c:pt idx="4080">
                  <c:v>311.5</c:v>
                </c:pt>
                <c:pt idx="4081">
                  <c:v>427.5</c:v>
                </c:pt>
                <c:pt idx="4082">
                  <c:v>529</c:v>
                </c:pt>
                <c:pt idx="4083">
                  <c:v>430.5</c:v>
                </c:pt>
                <c:pt idx="4084">
                  <c:v>399</c:v>
                </c:pt>
                <c:pt idx="4085">
                  <c:v>365</c:v>
                </c:pt>
                <c:pt idx="4086">
                  <c:v>235</c:v>
                </c:pt>
                <c:pt idx="4087">
                  <c:v>71.5</c:v>
                </c:pt>
                <c:pt idx="4088">
                  <c:v>170.5</c:v>
                </c:pt>
                <c:pt idx="4089">
                  <c:v>227.5</c:v>
                </c:pt>
                <c:pt idx="4090">
                  <c:v>395</c:v>
                </c:pt>
                <c:pt idx="4091">
                  <c:v>747</c:v>
                </c:pt>
                <c:pt idx="4092">
                  <c:v>923.5</c:v>
                </c:pt>
                <c:pt idx="4093">
                  <c:v>708</c:v>
                </c:pt>
                <c:pt idx="4094">
                  <c:v>353.5</c:v>
                </c:pt>
                <c:pt idx="4095">
                  <c:v>467.5</c:v>
                </c:pt>
                <c:pt idx="4096">
                  <c:v>741.5</c:v>
                </c:pt>
                <c:pt idx="4097">
                  <c:v>749</c:v>
                </c:pt>
                <c:pt idx="4098">
                  <c:v>590.5</c:v>
                </c:pt>
                <c:pt idx="4099">
                  <c:v>406.5</c:v>
                </c:pt>
                <c:pt idx="4100">
                  <c:v>338.5</c:v>
                </c:pt>
                <c:pt idx="4101">
                  <c:v>427.5</c:v>
                </c:pt>
                <c:pt idx="4102">
                  <c:v>564.5</c:v>
                </c:pt>
                <c:pt idx="4103">
                  <c:v>681</c:v>
                </c:pt>
                <c:pt idx="4104">
                  <c:v>619.5</c:v>
                </c:pt>
                <c:pt idx="4105">
                  <c:v>548</c:v>
                </c:pt>
                <c:pt idx="4106">
                  <c:v>456.5</c:v>
                </c:pt>
                <c:pt idx="4107">
                  <c:v>435</c:v>
                </c:pt>
                <c:pt idx="4108">
                  <c:v>454.5</c:v>
                </c:pt>
                <c:pt idx="4109">
                  <c:v>500.5</c:v>
                </c:pt>
                <c:pt idx="4110">
                  <c:v>657.5</c:v>
                </c:pt>
                <c:pt idx="4111">
                  <c:v>657</c:v>
                </c:pt>
                <c:pt idx="4112">
                  <c:v>468</c:v>
                </c:pt>
                <c:pt idx="4113">
                  <c:v>310.5</c:v>
                </c:pt>
                <c:pt idx="4114">
                  <c:v>519</c:v>
                </c:pt>
                <c:pt idx="4115">
                  <c:v>636.5</c:v>
                </c:pt>
                <c:pt idx="4116">
                  <c:v>443.5</c:v>
                </c:pt>
                <c:pt idx="4117">
                  <c:v>200.5</c:v>
                </c:pt>
                <c:pt idx="4118">
                  <c:v>397.5</c:v>
                </c:pt>
                <c:pt idx="4119">
                  <c:v>409.5</c:v>
                </c:pt>
                <c:pt idx="4120">
                  <c:v>161</c:v>
                </c:pt>
                <c:pt idx="4121">
                  <c:v>473</c:v>
                </c:pt>
                <c:pt idx="4122">
                  <c:v>615</c:v>
                </c:pt>
                <c:pt idx="4123">
                  <c:v>564.5</c:v>
                </c:pt>
                <c:pt idx="4124">
                  <c:v>447.5</c:v>
                </c:pt>
                <c:pt idx="4125">
                  <c:v>439</c:v>
                </c:pt>
                <c:pt idx="4126">
                  <c:v>387</c:v>
                </c:pt>
                <c:pt idx="4127">
                  <c:v>668</c:v>
                </c:pt>
                <c:pt idx="4128">
                  <c:v>830</c:v>
                </c:pt>
                <c:pt idx="4129">
                  <c:v>742</c:v>
                </c:pt>
                <c:pt idx="4130">
                  <c:v>451.5</c:v>
                </c:pt>
                <c:pt idx="4131">
                  <c:v>487</c:v>
                </c:pt>
                <c:pt idx="4132">
                  <c:v>905</c:v>
                </c:pt>
                <c:pt idx="4133">
                  <c:v>992</c:v>
                </c:pt>
                <c:pt idx="4134">
                  <c:v>834</c:v>
                </c:pt>
                <c:pt idx="4135">
                  <c:v>695</c:v>
                </c:pt>
                <c:pt idx="4136">
                  <c:v>572</c:v>
                </c:pt>
                <c:pt idx="4137">
                  <c:v>613</c:v>
                </c:pt>
                <c:pt idx="4138">
                  <c:v>701.5</c:v>
                </c:pt>
                <c:pt idx="4139">
                  <c:v>539</c:v>
                </c:pt>
                <c:pt idx="4140">
                  <c:v>249.5</c:v>
                </c:pt>
                <c:pt idx="4141">
                  <c:v>456.5</c:v>
                </c:pt>
                <c:pt idx="4142">
                  <c:v>563</c:v>
                </c:pt>
                <c:pt idx="4143">
                  <c:v>316</c:v>
                </c:pt>
                <c:pt idx="4144">
                  <c:v>283.5</c:v>
                </c:pt>
                <c:pt idx="4145">
                  <c:v>388.5</c:v>
                </c:pt>
                <c:pt idx="4146">
                  <c:v>449</c:v>
                </c:pt>
                <c:pt idx="4147">
                  <c:v>438</c:v>
                </c:pt>
                <c:pt idx="4148">
                  <c:v>358.5</c:v>
                </c:pt>
                <c:pt idx="4149">
                  <c:v>443.5</c:v>
                </c:pt>
                <c:pt idx="4150">
                  <c:v>618</c:v>
                </c:pt>
                <c:pt idx="4151">
                  <c:v>470</c:v>
                </c:pt>
                <c:pt idx="4152">
                  <c:v>151</c:v>
                </c:pt>
                <c:pt idx="4153">
                  <c:v>243.5</c:v>
                </c:pt>
                <c:pt idx="4154">
                  <c:v>467.5</c:v>
                </c:pt>
                <c:pt idx="4155">
                  <c:v>531</c:v>
                </c:pt>
                <c:pt idx="4156">
                  <c:v>512</c:v>
                </c:pt>
                <c:pt idx="4157">
                  <c:v>659</c:v>
                </c:pt>
                <c:pt idx="4158">
                  <c:v>764</c:v>
                </c:pt>
                <c:pt idx="4159">
                  <c:v>636</c:v>
                </c:pt>
                <c:pt idx="4160">
                  <c:v>655.5</c:v>
                </c:pt>
                <c:pt idx="4161">
                  <c:v>659</c:v>
                </c:pt>
                <c:pt idx="4162">
                  <c:v>664.5</c:v>
                </c:pt>
                <c:pt idx="4163">
                  <c:v>378</c:v>
                </c:pt>
                <c:pt idx="4164">
                  <c:v>465</c:v>
                </c:pt>
                <c:pt idx="4165">
                  <c:v>485</c:v>
                </c:pt>
                <c:pt idx="4166">
                  <c:v>415</c:v>
                </c:pt>
                <c:pt idx="4167">
                  <c:v>673</c:v>
                </c:pt>
                <c:pt idx="4168">
                  <c:v>831</c:v>
                </c:pt>
                <c:pt idx="4169">
                  <c:v>829</c:v>
                </c:pt>
                <c:pt idx="4170">
                  <c:v>779</c:v>
                </c:pt>
                <c:pt idx="4171">
                  <c:v>685.5</c:v>
                </c:pt>
                <c:pt idx="4172">
                  <c:v>666</c:v>
                </c:pt>
                <c:pt idx="4173">
                  <c:v>771.5</c:v>
                </c:pt>
                <c:pt idx="4174">
                  <c:v>762</c:v>
                </c:pt>
                <c:pt idx="4175">
                  <c:v>547.5</c:v>
                </c:pt>
                <c:pt idx="4176">
                  <c:v>608.5</c:v>
                </c:pt>
                <c:pt idx="4177">
                  <c:v>638.5</c:v>
                </c:pt>
                <c:pt idx="4178">
                  <c:v>469.5</c:v>
                </c:pt>
                <c:pt idx="4179">
                  <c:v>421</c:v>
                </c:pt>
                <c:pt idx="4180">
                  <c:v>477.5</c:v>
                </c:pt>
                <c:pt idx="4181">
                  <c:v>600.5</c:v>
                </c:pt>
                <c:pt idx="4182">
                  <c:v>632.5</c:v>
                </c:pt>
                <c:pt idx="4183">
                  <c:v>501</c:v>
                </c:pt>
                <c:pt idx="4184">
                  <c:v>386</c:v>
                </c:pt>
                <c:pt idx="4185">
                  <c:v>597.5</c:v>
                </c:pt>
                <c:pt idx="4186">
                  <c:v>765</c:v>
                </c:pt>
                <c:pt idx="4187">
                  <c:v>742</c:v>
                </c:pt>
                <c:pt idx="4188">
                  <c:v>693</c:v>
                </c:pt>
                <c:pt idx="4189">
                  <c:v>754</c:v>
                </c:pt>
                <c:pt idx="4190">
                  <c:v>771.5</c:v>
                </c:pt>
                <c:pt idx="4191">
                  <c:v>538</c:v>
                </c:pt>
                <c:pt idx="4192">
                  <c:v>318</c:v>
                </c:pt>
                <c:pt idx="4193">
                  <c:v>517</c:v>
                </c:pt>
                <c:pt idx="4194">
                  <c:v>539</c:v>
                </c:pt>
                <c:pt idx="4195">
                  <c:v>351</c:v>
                </c:pt>
                <c:pt idx="4196">
                  <c:v>578</c:v>
                </c:pt>
                <c:pt idx="4197">
                  <c:v>663</c:v>
                </c:pt>
                <c:pt idx="4198">
                  <c:v>560</c:v>
                </c:pt>
                <c:pt idx="4199">
                  <c:v>563</c:v>
                </c:pt>
                <c:pt idx="4200">
                  <c:v>686.5</c:v>
                </c:pt>
                <c:pt idx="4201">
                  <c:v>643.5</c:v>
                </c:pt>
                <c:pt idx="4202">
                  <c:v>523</c:v>
                </c:pt>
                <c:pt idx="4203">
                  <c:v>461</c:v>
                </c:pt>
                <c:pt idx="4204">
                  <c:v>504</c:v>
                </c:pt>
                <c:pt idx="4205">
                  <c:v>553.5</c:v>
                </c:pt>
                <c:pt idx="4206">
                  <c:v>471.5</c:v>
                </c:pt>
                <c:pt idx="4207">
                  <c:v>368.5</c:v>
                </c:pt>
                <c:pt idx="4208">
                  <c:v>393.5</c:v>
                </c:pt>
                <c:pt idx="4209">
                  <c:v>264.5</c:v>
                </c:pt>
                <c:pt idx="4210">
                  <c:v>288</c:v>
                </c:pt>
                <c:pt idx="4211">
                  <c:v>605</c:v>
                </c:pt>
                <c:pt idx="4212">
                  <c:v>772.5</c:v>
                </c:pt>
                <c:pt idx="4213">
                  <c:v>751.5</c:v>
                </c:pt>
                <c:pt idx="4214">
                  <c:v>417.5</c:v>
                </c:pt>
                <c:pt idx="4215">
                  <c:v>367.5</c:v>
                </c:pt>
                <c:pt idx="4216">
                  <c:v>559</c:v>
                </c:pt>
                <c:pt idx="4217">
                  <c:v>643</c:v>
                </c:pt>
                <c:pt idx="4218">
                  <c:v>808.5</c:v>
                </c:pt>
                <c:pt idx="4219">
                  <c:v>994.5</c:v>
                </c:pt>
                <c:pt idx="4220">
                  <c:v>959.5</c:v>
                </c:pt>
                <c:pt idx="4221">
                  <c:v>632</c:v>
                </c:pt>
                <c:pt idx="4222">
                  <c:v>797</c:v>
                </c:pt>
                <c:pt idx="4223">
                  <c:v>706</c:v>
                </c:pt>
                <c:pt idx="4224">
                  <c:v>486</c:v>
                </c:pt>
                <c:pt idx="4225">
                  <c:v>339</c:v>
                </c:pt>
                <c:pt idx="4226">
                  <c:v>350</c:v>
                </c:pt>
                <c:pt idx="4227">
                  <c:v>454.5</c:v>
                </c:pt>
                <c:pt idx="4228">
                  <c:v>655</c:v>
                </c:pt>
                <c:pt idx="4229">
                  <c:v>673</c:v>
                </c:pt>
                <c:pt idx="4230">
                  <c:v>698</c:v>
                </c:pt>
                <c:pt idx="4231">
                  <c:v>697</c:v>
                </c:pt>
                <c:pt idx="4232">
                  <c:v>788.5</c:v>
                </c:pt>
                <c:pt idx="4233">
                  <c:v>929.5</c:v>
                </c:pt>
                <c:pt idx="4234">
                  <c:v>875.5</c:v>
                </c:pt>
                <c:pt idx="4235">
                  <c:v>792</c:v>
                </c:pt>
                <c:pt idx="4236">
                  <c:v>761.5</c:v>
                </c:pt>
                <c:pt idx="4237">
                  <c:v>804</c:v>
                </c:pt>
                <c:pt idx="4238">
                  <c:v>771</c:v>
                </c:pt>
                <c:pt idx="4239">
                  <c:v>599</c:v>
                </c:pt>
                <c:pt idx="4240">
                  <c:v>344.5</c:v>
                </c:pt>
                <c:pt idx="4241">
                  <c:v>205</c:v>
                </c:pt>
                <c:pt idx="4242">
                  <c:v>302</c:v>
                </c:pt>
                <c:pt idx="4243">
                  <c:v>355</c:v>
                </c:pt>
                <c:pt idx="4244">
                  <c:v>352</c:v>
                </c:pt>
                <c:pt idx="4245">
                  <c:v>420.5</c:v>
                </c:pt>
                <c:pt idx="4246">
                  <c:v>481</c:v>
                </c:pt>
                <c:pt idx="4247">
                  <c:v>431</c:v>
                </c:pt>
                <c:pt idx="4248">
                  <c:v>338</c:v>
                </c:pt>
                <c:pt idx="4249">
                  <c:v>223</c:v>
                </c:pt>
                <c:pt idx="4250">
                  <c:v>202</c:v>
                </c:pt>
                <c:pt idx="4251">
                  <c:v>202</c:v>
                </c:pt>
                <c:pt idx="4252">
                  <c:v>480</c:v>
                </c:pt>
                <c:pt idx="4253">
                  <c:v>819</c:v>
                </c:pt>
                <c:pt idx="4254">
                  <c:v>953</c:v>
                </c:pt>
                <c:pt idx="4255">
                  <c:v>835</c:v>
                </c:pt>
                <c:pt idx="4256">
                  <c:v>661</c:v>
                </c:pt>
                <c:pt idx="4257">
                  <c:v>467.5</c:v>
                </c:pt>
                <c:pt idx="4258">
                  <c:v>659</c:v>
                </c:pt>
                <c:pt idx="4259">
                  <c:v>768</c:v>
                </c:pt>
                <c:pt idx="4260">
                  <c:v>636.5</c:v>
                </c:pt>
                <c:pt idx="4261">
                  <c:v>646</c:v>
                </c:pt>
                <c:pt idx="4262">
                  <c:v>615.5</c:v>
                </c:pt>
                <c:pt idx="4263">
                  <c:v>374</c:v>
                </c:pt>
                <c:pt idx="4264">
                  <c:v>353.5</c:v>
                </c:pt>
                <c:pt idx="4265">
                  <c:v>328</c:v>
                </c:pt>
                <c:pt idx="4266">
                  <c:v>458</c:v>
                </c:pt>
                <c:pt idx="4267">
                  <c:v>711.5</c:v>
                </c:pt>
                <c:pt idx="4268">
                  <c:v>921</c:v>
                </c:pt>
                <c:pt idx="4269">
                  <c:v>903.5</c:v>
                </c:pt>
                <c:pt idx="4270">
                  <c:v>713.5</c:v>
                </c:pt>
                <c:pt idx="4271">
                  <c:v>473.5</c:v>
                </c:pt>
                <c:pt idx="4272">
                  <c:v>502</c:v>
                </c:pt>
                <c:pt idx="4273">
                  <c:v>584.5</c:v>
                </c:pt>
                <c:pt idx="4274">
                  <c:v>688</c:v>
                </c:pt>
                <c:pt idx="4275">
                  <c:v>650.5</c:v>
                </c:pt>
                <c:pt idx="4276">
                  <c:v>836</c:v>
                </c:pt>
                <c:pt idx="4277">
                  <c:v>1023.5</c:v>
                </c:pt>
                <c:pt idx="4278">
                  <c:v>784.5</c:v>
                </c:pt>
                <c:pt idx="4279">
                  <c:v>653.5</c:v>
                </c:pt>
                <c:pt idx="4280">
                  <c:v>738.5</c:v>
                </c:pt>
                <c:pt idx="4281">
                  <c:v>659.5</c:v>
                </c:pt>
                <c:pt idx="4282">
                  <c:v>419</c:v>
                </c:pt>
                <c:pt idx="4283">
                  <c:v>313</c:v>
                </c:pt>
                <c:pt idx="4284">
                  <c:v>465.5</c:v>
                </c:pt>
                <c:pt idx="4285">
                  <c:v>684.5</c:v>
                </c:pt>
                <c:pt idx="4286">
                  <c:v>749</c:v>
                </c:pt>
                <c:pt idx="4287">
                  <c:v>677</c:v>
                </c:pt>
                <c:pt idx="4288">
                  <c:v>585.5</c:v>
                </c:pt>
                <c:pt idx="4289">
                  <c:v>562.5</c:v>
                </c:pt>
                <c:pt idx="4290">
                  <c:v>467</c:v>
                </c:pt>
                <c:pt idx="4291">
                  <c:v>399.5</c:v>
                </c:pt>
                <c:pt idx="4292">
                  <c:v>380</c:v>
                </c:pt>
                <c:pt idx="4293">
                  <c:v>485</c:v>
                </c:pt>
                <c:pt idx="4294">
                  <c:v>551.5</c:v>
                </c:pt>
                <c:pt idx="4295">
                  <c:v>507</c:v>
                </c:pt>
                <c:pt idx="4296">
                  <c:v>473</c:v>
                </c:pt>
                <c:pt idx="4297">
                  <c:v>356.5</c:v>
                </c:pt>
                <c:pt idx="4298">
                  <c:v>612</c:v>
                </c:pt>
                <c:pt idx="4299">
                  <c:v>951.5</c:v>
                </c:pt>
                <c:pt idx="4300">
                  <c:v>918</c:v>
                </c:pt>
                <c:pt idx="4301">
                  <c:v>550.5</c:v>
                </c:pt>
                <c:pt idx="4302">
                  <c:v>296</c:v>
                </c:pt>
                <c:pt idx="4303">
                  <c:v>484.5</c:v>
                </c:pt>
                <c:pt idx="4304">
                  <c:v>645.5</c:v>
                </c:pt>
                <c:pt idx="4305">
                  <c:v>585</c:v>
                </c:pt>
                <c:pt idx="4306">
                  <c:v>591</c:v>
                </c:pt>
                <c:pt idx="4307">
                  <c:v>930.5</c:v>
                </c:pt>
                <c:pt idx="4308">
                  <c:v>1208</c:v>
                </c:pt>
                <c:pt idx="4309">
                  <c:v>1091.5</c:v>
                </c:pt>
                <c:pt idx="4310">
                  <c:v>579.5</c:v>
                </c:pt>
                <c:pt idx="4311">
                  <c:v>490.5</c:v>
                </c:pt>
                <c:pt idx="4312">
                  <c:v>568</c:v>
                </c:pt>
                <c:pt idx="4313">
                  <c:v>672</c:v>
                </c:pt>
                <c:pt idx="4314">
                  <c:v>578</c:v>
                </c:pt>
                <c:pt idx="4315">
                  <c:v>264</c:v>
                </c:pt>
                <c:pt idx="4316">
                  <c:v>293</c:v>
                </c:pt>
                <c:pt idx="4317">
                  <c:v>399</c:v>
                </c:pt>
                <c:pt idx="4318">
                  <c:v>316.5</c:v>
                </c:pt>
                <c:pt idx="4319">
                  <c:v>393</c:v>
                </c:pt>
                <c:pt idx="4320">
                  <c:v>476.5</c:v>
                </c:pt>
                <c:pt idx="4321">
                  <c:v>248</c:v>
                </c:pt>
                <c:pt idx="4322">
                  <c:v>340.5</c:v>
                </c:pt>
                <c:pt idx="4323">
                  <c:v>629.5</c:v>
                </c:pt>
                <c:pt idx="4324">
                  <c:v>743</c:v>
                </c:pt>
                <c:pt idx="4325">
                  <c:v>959.5</c:v>
                </c:pt>
                <c:pt idx="4326">
                  <c:v>1185.5</c:v>
                </c:pt>
                <c:pt idx="4327">
                  <c:v>1030</c:v>
                </c:pt>
                <c:pt idx="4328">
                  <c:v>792.5</c:v>
                </c:pt>
                <c:pt idx="4329">
                  <c:v>860</c:v>
                </c:pt>
                <c:pt idx="4330">
                  <c:v>666.5</c:v>
                </c:pt>
                <c:pt idx="4331">
                  <c:v>494</c:v>
                </c:pt>
                <c:pt idx="4332">
                  <c:v>677.5</c:v>
                </c:pt>
                <c:pt idx="4333">
                  <c:v>788.5</c:v>
                </c:pt>
                <c:pt idx="4334">
                  <c:v>505.5</c:v>
                </c:pt>
                <c:pt idx="4335">
                  <c:v>937.5</c:v>
                </c:pt>
                <c:pt idx="4336">
                  <c:v>1231</c:v>
                </c:pt>
                <c:pt idx="4337">
                  <c:v>899</c:v>
                </c:pt>
                <c:pt idx="4338">
                  <c:v>931</c:v>
                </c:pt>
                <c:pt idx="4339">
                  <c:v>1105</c:v>
                </c:pt>
                <c:pt idx="4340">
                  <c:v>878</c:v>
                </c:pt>
                <c:pt idx="4341">
                  <c:v>867.5</c:v>
                </c:pt>
                <c:pt idx="4342">
                  <c:v>529</c:v>
                </c:pt>
                <c:pt idx="4343">
                  <c:v>469</c:v>
                </c:pt>
                <c:pt idx="4344">
                  <c:v>597.5</c:v>
                </c:pt>
                <c:pt idx="4345">
                  <c:v>467.5</c:v>
                </c:pt>
                <c:pt idx="4346">
                  <c:v>443</c:v>
                </c:pt>
                <c:pt idx="4347">
                  <c:v>656.5</c:v>
                </c:pt>
                <c:pt idx="4348">
                  <c:v>545</c:v>
                </c:pt>
                <c:pt idx="4349">
                  <c:v>433.5</c:v>
                </c:pt>
                <c:pt idx="4350">
                  <c:v>679</c:v>
                </c:pt>
                <c:pt idx="4351">
                  <c:v>834</c:v>
                </c:pt>
                <c:pt idx="4352">
                  <c:v>742.5</c:v>
                </c:pt>
                <c:pt idx="4353">
                  <c:v>616</c:v>
                </c:pt>
                <c:pt idx="4354">
                  <c:v>459.5</c:v>
                </c:pt>
                <c:pt idx="4355">
                  <c:v>277</c:v>
                </c:pt>
                <c:pt idx="4356">
                  <c:v>345.5</c:v>
                </c:pt>
                <c:pt idx="4357">
                  <c:v>603.5</c:v>
                </c:pt>
                <c:pt idx="4358">
                  <c:v>907.5</c:v>
                </c:pt>
                <c:pt idx="4359">
                  <c:v>1169</c:v>
                </c:pt>
                <c:pt idx="4360">
                  <c:v>1396.5</c:v>
                </c:pt>
                <c:pt idx="4361">
                  <c:v>1260.5</c:v>
                </c:pt>
                <c:pt idx="4362">
                  <c:v>1091.5</c:v>
                </c:pt>
                <c:pt idx="4363">
                  <c:v>1296</c:v>
                </c:pt>
                <c:pt idx="4364">
                  <c:v>1240.5</c:v>
                </c:pt>
                <c:pt idx="4365">
                  <c:v>1010</c:v>
                </c:pt>
                <c:pt idx="4366">
                  <c:v>726</c:v>
                </c:pt>
                <c:pt idx="4367">
                  <c:v>586.5</c:v>
                </c:pt>
                <c:pt idx="4368">
                  <c:v>680.5</c:v>
                </c:pt>
                <c:pt idx="4369">
                  <c:v>563.5</c:v>
                </c:pt>
                <c:pt idx="4370">
                  <c:v>424.5</c:v>
                </c:pt>
                <c:pt idx="4371">
                  <c:v>827.5</c:v>
                </c:pt>
                <c:pt idx="4372">
                  <c:v>1161</c:v>
                </c:pt>
                <c:pt idx="4373">
                  <c:v>1371.5</c:v>
                </c:pt>
                <c:pt idx="4374">
                  <c:v>1301.5</c:v>
                </c:pt>
                <c:pt idx="4375">
                  <c:v>1095.5</c:v>
                </c:pt>
                <c:pt idx="4376">
                  <c:v>863</c:v>
                </c:pt>
                <c:pt idx="4377">
                  <c:v>793</c:v>
                </c:pt>
                <c:pt idx="4378">
                  <c:v>908.5</c:v>
                </c:pt>
                <c:pt idx="4379">
                  <c:v>840.5</c:v>
                </c:pt>
                <c:pt idx="4380">
                  <c:v>807</c:v>
                </c:pt>
                <c:pt idx="4381">
                  <c:v>697.5</c:v>
                </c:pt>
                <c:pt idx="4382">
                  <c:v>614.5</c:v>
                </c:pt>
                <c:pt idx="4383">
                  <c:v>753.5</c:v>
                </c:pt>
                <c:pt idx="4384">
                  <c:v>811</c:v>
                </c:pt>
                <c:pt idx="4385">
                  <c:v>538</c:v>
                </c:pt>
                <c:pt idx="4386">
                  <c:v>539.5</c:v>
                </c:pt>
                <c:pt idx="4387">
                  <c:v>846.5</c:v>
                </c:pt>
                <c:pt idx="4388">
                  <c:v>856.5</c:v>
                </c:pt>
                <c:pt idx="4389">
                  <c:v>534</c:v>
                </c:pt>
                <c:pt idx="4390">
                  <c:v>363</c:v>
                </c:pt>
                <c:pt idx="4391">
                  <c:v>603.5</c:v>
                </c:pt>
                <c:pt idx="4392">
                  <c:v>939.5</c:v>
                </c:pt>
                <c:pt idx="4393">
                  <c:v>1134</c:v>
                </c:pt>
                <c:pt idx="4394">
                  <c:v>1002.5</c:v>
                </c:pt>
                <c:pt idx="4395">
                  <c:v>372.5</c:v>
                </c:pt>
                <c:pt idx="4396">
                  <c:v>685.5</c:v>
                </c:pt>
                <c:pt idx="4397">
                  <c:v>897.5</c:v>
                </c:pt>
                <c:pt idx="4398">
                  <c:v>963.5</c:v>
                </c:pt>
                <c:pt idx="4399">
                  <c:v>976.5</c:v>
                </c:pt>
                <c:pt idx="4400">
                  <c:v>886</c:v>
                </c:pt>
                <c:pt idx="4401">
                  <c:v>672</c:v>
                </c:pt>
                <c:pt idx="4402">
                  <c:v>532.5</c:v>
                </c:pt>
                <c:pt idx="4403">
                  <c:v>376</c:v>
                </c:pt>
                <c:pt idx="4404">
                  <c:v>695</c:v>
                </c:pt>
                <c:pt idx="4405">
                  <c:v>514.5</c:v>
                </c:pt>
                <c:pt idx="4406">
                  <c:v>426.5</c:v>
                </c:pt>
                <c:pt idx="4407">
                  <c:v>694</c:v>
                </c:pt>
                <c:pt idx="4408">
                  <c:v>1042.5</c:v>
                </c:pt>
                <c:pt idx="4409">
                  <c:v>1178</c:v>
                </c:pt>
                <c:pt idx="4410">
                  <c:v>884</c:v>
                </c:pt>
                <c:pt idx="4411">
                  <c:v>1136.5</c:v>
                </c:pt>
                <c:pt idx="4412">
                  <c:v>1198</c:v>
                </c:pt>
                <c:pt idx="4413">
                  <c:v>799</c:v>
                </c:pt>
                <c:pt idx="4414">
                  <c:v>488</c:v>
                </c:pt>
                <c:pt idx="4415">
                  <c:v>506</c:v>
                </c:pt>
                <c:pt idx="4416">
                  <c:v>490.5</c:v>
                </c:pt>
                <c:pt idx="4417">
                  <c:v>898</c:v>
                </c:pt>
                <c:pt idx="4418">
                  <c:v>1170</c:v>
                </c:pt>
                <c:pt idx="4419">
                  <c:v>1050.5</c:v>
                </c:pt>
                <c:pt idx="4420">
                  <c:v>822.5</c:v>
                </c:pt>
                <c:pt idx="4421">
                  <c:v>670.5</c:v>
                </c:pt>
                <c:pt idx="4422">
                  <c:v>571</c:v>
                </c:pt>
                <c:pt idx="4423">
                  <c:v>783</c:v>
                </c:pt>
                <c:pt idx="4424">
                  <c:v>741.5</c:v>
                </c:pt>
                <c:pt idx="4425">
                  <c:v>653.5</c:v>
                </c:pt>
                <c:pt idx="4426">
                  <c:v>703</c:v>
                </c:pt>
                <c:pt idx="4427">
                  <c:v>486</c:v>
                </c:pt>
                <c:pt idx="4428">
                  <c:v>513</c:v>
                </c:pt>
                <c:pt idx="4429">
                  <c:v>821</c:v>
                </c:pt>
                <c:pt idx="4430">
                  <c:v>737</c:v>
                </c:pt>
                <c:pt idx="4431">
                  <c:v>716</c:v>
                </c:pt>
                <c:pt idx="4432">
                  <c:v>997</c:v>
                </c:pt>
                <c:pt idx="4433">
                  <c:v>821</c:v>
                </c:pt>
                <c:pt idx="4434">
                  <c:v>421.5</c:v>
                </c:pt>
                <c:pt idx="4435">
                  <c:v>336.5</c:v>
                </c:pt>
                <c:pt idx="4436">
                  <c:v>414.5</c:v>
                </c:pt>
                <c:pt idx="4437">
                  <c:v>555.5</c:v>
                </c:pt>
                <c:pt idx="4438">
                  <c:v>972</c:v>
                </c:pt>
                <c:pt idx="4439">
                  <c:v>1406</c:v>
                </c:pt>
                <c:pt idx="4440">
                  <c:v>1592</c:v>
                </c:pt>
                <c:pt idx="4441">
                  <c:v>1346</c:v>
                </c:pt>
                <c:pt idx="4442">
                  <c:v>965</c:v>
                </c:pt>
                <c:pt idx="4443">
                  <c:v>722</c:v>
                </c:pt>
                <c:pt idx="4444">
                  <c:v>548.5</c:v>
                </c:pt>
                <c:pt idx="4445">
                  <c:v>594.5</c:v>
                </c:pt>
                <c:pt idx="4446">
                  <c:v>572.5</c:v>
                </c:pt>
                <c:pt idx="4447">
                  <c:v>427</c:v>
                </c:pt>
                <c:pt idx="4448">
                  <c:v>513.5</c:v>
                </c:pt>
                <c:pt idx="4449">
                  <c:v>600</c:v>
                </c:pt>
                <c:pt idx="4450">
                  <c:v>793.5</c:v>
                </c:pt>
                <c:pt idx="4451">
                  <c:v>940.5</c:v>
                </c:pt>
                <c:pt idx="4452">
                  <c:v>743</c:v>
                </c:pt>
                <c:pt idx="4453">
                  <c:v>554.5</c:v>
                </c:pt>
                <c:pt idx="4454">
                  <c:v>723.5</c:v>
                </c:pt>
                <c:pt idx="4455">
                  <c:v>1170.5</c:v>
                </c:pt>
                <c:pt idx="4456">
                  <c:v>1207.5</c:v>
                </c:pt>
                <c:pt idx="4457">
                  <c:v>882</c:v>
                </c:pt>
                <c:pt idx="4458">
                  <c:v>712</c:v>
                </c:pt>
                <c:pt idx="4459">
                  <c:v>688</c:v>
                </c:pt>
                <c:pt idx="4460">
                  <c:v>831</c:v>
                </c:pt>
                <c:pt idx="4461">
                  <c:v>1184.5</c:v>
                </c:pt>
                <c:pt idx="4462">
                  <c:v>1349</c:v>
                </c:pt>
                <c:pt idx="4463">
                  <c:v>1047</c:v>
                </c:pt>
                <c:pt idx="4464">
                  <c:v>567.5</c:v>
                </c:pt>
                <c:pt idx="4465">
                  <c:v>482</c:v>
                </c:pt>
                <c:pt idx="4466">
                  <c:v>731</c:v>
                </c:pt>
                <c:pt idx="4467">
                  <c:v>1096.5</c:v>
                </c:pt>
                <c:pt idx="4468">
                  <c:v>1026</c:v>
                </c:pt>
                <c:pt idx="4469">
                  <c:v>957</c:v>
                </c:pt>
                <c:pt idx="4470">
                  <c:v>959</c:v>
                </c:pt>
                <c:pt idx="4471">
                  <c:v>848</c:v>
                </c:pt>
                <c:pt idx="4472">
                  <c:v>701</c:v>
                </c:pt>
                <c:pt idx="4473">
                  <c:v>1076.5</c:v>
                </c:pt>
                <c:pt idx="4474">
                  <c:v>1271.5</c:v>
                </c:pt>
                <c:pt idx="4475">
                  <c:v>916</c:v>
                </c:pt>
                <c:pt idx="4476">
                  <c:v>598.5</c:v>
                </c:pt>
                <c:pt idx="4477">
                  <c:v>805.5</c:v>
                </c:pt>
                <c:pt idx="4478">
                  <c:v>853</c:v>
                </c:pt>
                <c:pt idx="4479">
                  <c:v>1095</c:v>
                </c:pt>
                <c:pt idx="4480">
                  <c:v>1071</c:v>
                </c:pt>
                <c:pt idx="4481">
                  <c:v>720</c:v>
                </c:pt>
                <c:pt idx="4482">
                  <c:v>511.5</c:v>
                </c:pt>
                <c:pt idx="4483">
                  <c:v>664</c:v>
                </c:pt>
                <c:pt idx="4484">
                  <c:v>1085.5</c:v>
                </c:pt>
                <c:pt idx="4485">
                  <c:v>1203.5</c:v>
                </c:pt>
                <c:pt idx="4486">
                  <c:v>1060</c:v>
                </c:pt>
                <c:pt idx="4487">
                  <c:v>662.5</c:v>
                </c:pt>
                <c:pt idx="4488">
                  <c:v>665</c:v>
                </c:pt>
                <c:pt idx="4489">
                  <c:v>925</c:v>
                </c:pt>
                <c:pt idx="4490">
                  <c:v>872</c:v>
                </c:pt>
                <c:pt idx="4491">
                  <c:v>630.5</c:v>
                </c:pt>
                <c:pt idx="4492">
                  <c:v>779.5</c:v>
                </c:pt>
                <c:pt idx="4493">
                  <c:v>949</c:v>
                </c:pt>
                <c:pt idx="4494">
                  <c:v>815</c:v>
                </c:pt>
                <c:pt idx="4495">
                  <c:v>690.5</c:v>
                </c:pt>
                <c:pt idx="4496">
                  <c:v>516</c:v>
                </c:pt>
                <c:pt idx="4497">
                  <c:v>250.5</c:v>
                </c:pt>
                <c:pt idx="4498">
                  <c:v>861</c:v>
                </c:pt>
                <c:pt idx="4499">
                  <c:v>1227.5</c:v>
                </c:pt>
                <c:pt idx="4500">
                  <c:v>1233</c:v>
                </c:pt>
                <c:pt idx="4501">
                  <c:v>1284.5</c:v>
                </c:pt>
                <c:pt idx="4502">
                  <c:v>1077.5</c:v>
                </c:pt>
                <c:pt idx="4503">
                  <c:v>863.5</c:v>
                </c:pt>
                <c:pt idx="4504">
                  <c:v>1049</c:v>
                </c:pt>
                <c:pt idx="4505">
                  <c:v>622</c:v>
                </c:pt>
                <c:pt idx="4506">
                  <c:v>664</c:v>
                </c:pt>
                <c:pt idx="4507">
                  <c:v>858.5</c:v>
                </c:pt>
                <c:pt idx="4508">
                  <c:v>892.5</c:v>
                </c:pt>
                <c:pt idx="4509">
                  <c:v>955.5</c:v>
                </c:pt>
                <c:pt idx="4510">
                  <c:v>1053</c:v>
                </c:pt>
                <c:pt idx="4511">
                  <c:v>1440.5</c:v>
                </c:pt>
                <c:pt idx="4512">
                  <c:v>1807</c:v>
                </c:pt>
                <c:pt idx="4513">
                  <c:v>1558.5</c:v>
                </c:pt>
                <c:pt idx="4514">
                  <c:v>906.5</c:v>
                </c:pt>
                <c:pt idx="4515">
                  <c:v>885.5</c:v>
                </c:pt>
                <c:pt idx="4516">
                  <c:v>1308</c:v>
                </c:pt>
                <c:pt idx="4517">
                  <c:v>1085.5</c:v>
                </c:pt>
                <c:pt idx="4518">
                  <c:v>909.5</c:v>
                </c:pt>
                <c:pt idx="4519">
                  <c:v>712</c:v>
                </c:pt>
                <c:pt idx="4520">
                  <c:v>713.5</c:v>
                </c:pt>
                <c:pt idx="4521">
                  <c:v>1168.5</c:v>
                </c:pt>
                <c:pt idx="4522">
                  <c:v>989</c:v>
                </c:pt>
                <c:pt idx="4523">
                  <c:v>841</c:v>
                </c:pt>
                <c:pt idx="4524">
                  <c:v>1176.5</c:v>
                </c:pt>
                <c:pt idx="4525">
                  <c:v>1313.5</c:v>
                </c:pt>
                <c:pt idx="4526">
                  <c:v>1394</c:v>
                </c:pt>
                <c:pt idx="4527">
                  <c:v>1071</c:v>
                </c:pt>
                <c:pt idx="4528">
                  <c:v>669.5</c:v>
                </c:pt>
                <c:pt idx="4529">
                  <c:v>1042</c:v>
                </c:pt>
                <c:pt idx="4530">
                  <c:v>1613.5</c:v>
                </c:pt>
                <c:pt idx="4531">
                  <c:v>1956.5</c:v>
                </c:pt>
                <c:pt idx="4532">
                  <c:v>2009.5</c:v>
                </c:pt>
                <c:pt idx="4533">
                  <c:v>1756.5</c:v>
                </c:pt>
                <c:pt idx="4534">
                  <c:v>1357</c:v>
                </c:pt>
                <c:pt idx="4535">
                  <c:v>1257.5</c:v>
                </c:pt>
                <c:pt idx="4536">
                  <c:v>1468</c:v>
                </c:pt>
                <c:pt idx="4537">
                  <c:v>1157</c:v>
                </c:pt>
                <c:pt idx="4538">
                  <c:v>1190</c:v>
                </c:pt>
                <c:pt idx="4539">
                  <c:v>948</c:v>
                </c:pt>
                <c:pt idx="4540">
                  <c:v>570.5</c:v>
                </c:pt>
                <c:pt idx="4541">
                  <c:v>919.5</c:v>
                </c:pt>
                <c:pt idx="4542">
                  <c:v>1181</c:v>
                </c:pt>
                <c:pt idx="4543">
                  <c:v>1532</c:v>
                </c:pt>
                <c:pt idx="4544">
                  <c:v>1666.5</c:v>
                </c:pt>
                <c:pt idx="4545">
                  <c:v>1691</c:v>
                </c:pt>
                <c:pt idx="4546">
                  <c:v>1778.5</c:v>
                </c:pt>
                <c:pt idx="4547">
                  <c:v>1899</c:v>
                </c:pt>
                <c:pt idx="4548">
                  <c:v>1860.5</c:v>
                </c:pt>
                <c:pt idx="4549">
                  <c:v>1523</c:v>
                </c:pt>
                <c:pt idx="4550">
                  <c:v>977</c:v>
                </c:pt>
                <c:pt idx="4551">
                  <c:v>944.5</c:v>
                </c:pt>
                <c:pt idx="4552">
                  <c:v>1654.5</c:v>
                </c:pt>
                <c:pt idx="4553">
                  <c:v>2486.5</c:v>
                </c:pt>
                <c:pt idx="4554">
                  <c:v>2722.5</c:v>
                </c:pt>
                <c:pt idx="4555">
                  <c:v>1508</c:v>
                </c:pt>
                <c:pt idx="4556">
                  <c:v>415</c:v>
                </c:pt>
                <c:pt idx="4557">
                  <c:v>945.5</c:v>
                </c:pt>
                <c:pt idx="4558">
                  <c:v>718.5</c:v>
                </c:pt>
                <c:pt idx="4559">
                  <c:v>790.5</c:v>
                </c:pt>
                <c:pt idx="4560">
                  <c:v>669.5</c:v>
                </c:pt>
                <c:pt idx="4561">
                  <c:v>723</c:v>
                </c:pt>
                <c:pt idx="4562">
                  <c:v>709.5</c:v>
                </c:pt>
                <c:pt idx="4563">
                  <c:v>713</c:v>
                </c:pt>
                <c:pt idx="4564">
                  <c:v>731</c:v>
                </c:pt>
                <c:pt idx="4565">
                  <c:v>667.5</c:v>
                </c:pt>
                <c:pt idx="4566">
                  <c:v>553</c:v>
                </c:pt>
                <c:pt idx="4567">
                  <c:v>438.5</c:v>
                </c:pt>
                <c:pt idx="4568">
                  <c:v>626.5</c:v>
                </c:pt>
                <c:pt idx="4569">
                  <c:v>531.5</c:v>
                </c:pt>
                <c:pt idx="4570">
                  <c:v>852.5</c:v>
                </c:pt>
                <c:pt idx="4571">
                  <c:v>1204.5</c:v>
                </c:pt>
                <c:pt idx="4572">
                  <c:v>957.5</c:v>
                </c:pt>
                <c:pt idx="4573">
                  <c:v>656.5</c:v>
                </c:pt>
                <c:pt idx="4574">
                  <c:v>565</c:v>
                </c:pt>
                <c:pt idx="4575">
                  <c:v>640</c:v>
                </c:pt>
                <c:pt idx="4576">
                  <c:v>722</c:v>
                </c:pt>
                <c:pt idx="4577">
                  <c:v>781.5</c:v>
                </c:pt>
                <c:pt idx="4578">
                  <c:v>795</c:v>
                </c:pt>
                <c:pt idx="4579">
                  <c:v>617</c:v>
                </c:pt>
                <c:pt idx="4580">
                  <c:v>749.5</c:v>
                </c:pt>
                <c:pt idx="4581">
                  <c:v>1096</c:v>
                </c:pt>
                <c:pt idx="4582">
                  <c:v>1303.5</c:v>
                </c:pt>
                <c:pt idx="4583">
                  <c:v>1277</c:v>
                </c:pt>
                <c:pt idx="4584">
                  <c:v>1001</c:v>
                </c:pt>
                <c:pt idx="4585">
                  <c:v>1082.5</c:v>
                </c:pt>
                <c:pt idx="4586">
                  <c:v>786.5</c:v>
                </c:pt>
                <c:pt idx="4587">
                  <c:v>716.5</c:v>
                </c:pt>
                <c:pt idx="4588">
                  <c:v>966.5</c:v>
                </c:pt>
                <c:pt idx="4589">
                  <c:v>855</c:v>
                </c:pt>
                <c:pt idx="4590">
                  <c:v>522</c:v>
                </c:pt>
                <c:pt idx="4591">
                  <c:v>833.5</c:v>
                </c:pt>
                <c:pt idx="4592">
                  <c:v>1170</c:v>
                </c:pt>
                <c:pt idx="4593">
                  <c:v>1587</c:v>
                </c:pt>
                <c:pt idx="4594">
                  <c:v>1710.5</c:v>
                </c:pt>
                <c:pt idx="4595">
                  <c:v>1312</c:v>
                </c:pt>
                <c:pt idx="4596">
                  <c:v>790.5</c:v>
                </c:pt>
                <c:pt idx="4597">
                  <c:v>586</c:v>
                </c:pt>
                <c:pt idx="4598">
                  <c:v>510</c:v>
                </c:pt>
                <c:pt idx="4599">
                  <c:v>573</c:v>
                </c:pt>
                <c:pt idx="4600">
                  <c:v>817.5</c:v>
                </c:pt>
                <c:pt idx="4601">
                  <c:v>1390</c:v>
                </c:pt>
                <c:pt idx="4602">
                  <c:v>1629.5</c:v>
                </c:pt>
                <c:pt idx="4603">
                  <c:v>1163</c:v>
                </c:pt>
                <c:pt idx="4604">
                  <c:v>338</c:v>
                </c:pt>
                <c:pt idx="4605">
                  <c:v>788</c:v>
                </c:pt>
                <c:pt idx="4606">
                  <c:v>709</c:v>
                </c:pt>
                <c:pt idx="4607">
                  <c:v>687</c:v>
                </c:pt>
                <c:pt idx="4608">
                  <c:v>958</c:v>
                </c:pt>
                <c:pt idx="4609">
                  <c:v>1244.5</c:v>
                </c:pt>
                <c:pt idx="4610">
                  <c:v>1264</c:v>
                </c:pt>
                <c:pt idx="4611">
                  <c:v>1048.5</c:v>
                </c:pt>
                <c:pt idx="4612">
                  <c:v>1043.5</c:v>
                </c:pt>
                <c:pt idx="4613">
                  <c:v>739.5</c:v>
                </c:pt>
                <c:pt idx="4614">
                  <c:v>900.5</c:v>
                </c:pt>
                <c:pt idx="4615">
                  <c:v>491</c:v>
                </c:pt>
                <c:pt idx="4616">
                  <c:v>628</c:v>
                </c:pt>
                <c:pt idx="4617">
                  <c:v>636.5</c:v>
                </c:pt>
                <c:pt idx="4618">
                  <c:v>475</c:v>
                </c:pt>
                <c:pt idx="4619">
                  <c:v>679.5</c:v>
                </c:pt>
                <c:pt idx="4620">
                  <c:v>891.5</c:v>
                </c:pt>
                <c:pt idx="4621">
                  <c:v>655.5</c:v>
                </c:pt>
                <c:pt idx="4622">
                  <c:v>654.5</c:v>
                </c:pt>
                <c:pt idx="4623">
                  <c:v>677</c:v>
                </c:pt>
                <c:pt idx="4624">
                  <c:v>987</c:v>
                </c:pt>
                <c:pt idx="4625">
                  <c:v>1877</c:v>
                </c:pt>
                <c:pt idx="4626">
                  <c:v>2167</c:v>
                </c:pt>
                <c:pt idx="4627">
                  <c:v>1950</c:v>
                </c:pt>
                <c:pt idx="4628">
                  <c:v>1560.5</c:v>
                </c:pt>
                <c:pt idx="4629">
                  <c:v>1313.5</c:v>
                </c:pt>
                <c:pt idx="4630">
                  <c:v>1305</c:v>
                </c:pt>
                <c:pt idx="4631">
                  <c:v>1232.5</c:v>
                </c:pt>
                <c:pt idx="4632">
                  <c:v>1088</c:v>
                </c:pt>
                <c:pt idx="4633">
                  <c:v>915</c:v>
                </c:pt>
                <c:pt idx="4634">
                  <c:v>1564</c:v>
                </c:pt>
                <c:pt idx="4635">
                  <c:v>1809</c:v>
                </c:pt>
                <c:pt idx="4636">
                  <c:v>1627.5</c:v>
                </c:pt>
                <c:pt idx="4637">
                  <c:v>1563</c:v>
                </c:pt>
                <c:pt idx="4638">
                  <c:v>1269</c:v>
                </c:pt>
                <c:pt idx="4639">
                  <c:v>818</c:v>
                </c:pt>
                <c:pt idx="4640">
                  <c:v>1118.5</c:v>
                </c:pt>
                <c:pt idx="4641">
                  <c:v>1282</c:v>
                </c:pt>
                <c:pt idx="4642">
                  <c:v>1303.5</c:v>
                </c:pt>
                <c:pt idx="4643">
                  <c:v>955</c:v>
                </c:pt>
                <c:pt idx="4644">
                  <c:v>1412.5</c:v>
                </c:pt>
                <c:pt idx="4645">
                  <c:v>1957</c:v>
                </c:pt>
                <c:pt idx="4646">
                  <c:v>1360.5</c:v>
                </c:pt>
                <c:pt idx="4647">
                  <c:v>684.5</c:v>
                </c:pt>
                <c:pt idx="4648">
                  <c:v>1233</c:v>
                </c:pt>
                <c:pt idx="4649">
                  <c:v>1343</c:v>
                </c:pt>
                <c:pt idx="4650">
                  <c:v>1152</c:v>
                </c:pt>
                <c:pt idx="4651">
                  <c:v>1002</c:v>
                </c:pt>
                <c:pt idx="4652">
                  <c:v>1375.5</c:v>
                </c:pt>
                <c:pt idx="4653">
                  <c:v>1374.5</c:v>
                </c:pt>
                <c:pt idx="4654">
                  <c:v>1752.5</c:v>
                </c:pt>
                <c:pt idx="4655">
                  <c:v>1477.5</c:v>
                </c:pt>
                <c:pt idx="4656">
                  <c:v>949</c:v>
                </c:pt>
                <c:pt idx="4657">
                  <c:v>636</c:v>
                </c:pt>
                <c:pt idx="4658">
                  <c:v>613</c:v>
                </c:pt>
                <c:pt idx="4659">
                  <c:v>1066.5</c:v>
                </c:pt>
                <c:pt idx="4660">
                  <c:v>1487</c:v>
                </c:pt>
                <c:pt idx="4661">
                  <c:v>1550</c:v>
                </c:pt>
                <c:pt idx="4662">
                  <c:v>1509</c:v>
                </c:pt>
                <c:pt idx="4663">
                  <c:v>1532.5</c:v>
                </c:pt>
                <c:pt idx="4664">
                  <c:v>1169</c:v>
                </c:pt>
                <c:pt idx="4665">
                  <c:v>795.5</c:v>
                </c:pt>
                <c:pt idx="4666">
                  <c:v>1110.5</c:v>
                </c:pt>
                <c:pt idx="4667">
                  <c:v>2073.5</c:v>
                </c:pt>
                <c:pt idx="4668">
                  <c:v>2555</c:v>
                </c:pt>
                <c:pt idx="4669">
                  <c:v>1896.5</c:v>
                </c:pt>
                <c:pt idx="4670">
                  <c:v>1045</c:v>
                </c:pt>
                <c:pt idx="4671">
                  <c:v>486.5</c:v>
                </c:pt>
                <c:pt idx="4672">
                  <c:v>984</c:v>
                </c:pt>
                <c:pt idx="4673">
                  <c:v>1109.5</c:v>
                </c:pt>
                <c:pt idx="4674">
                  <c:v>1580.5</c:v>
                </c:pt>
                <c:pt idx="4675">
                  <c:v>1517.5</c:v>
                </c:pt>
                <c:pt idx="4676">
                  <c:v>1003.5</c:v>
                </c:pt>
                <c:pt idx="4677">
                  <c:v>924</c:v>
                </c:pt>
                <c:pt idx="4678">
                  <c:v>834</c:v>
                </c:pt>
                <c:pt idx="4679">
                  <c:v>922.5</c:v>
                </c:pt>
                <c:pt idx="4680">
                  <c:v>1004</c:v>
                </c:pt>
                <c:pt idx="4681">
                  <c:v>997</c:v>
                </c:pt>
                <c:pt idx="4682">
                  <c:v>851.5</c:v>
                </c:pt>
                <c:pt idx="4683">
                  <c:v>467.5</c:v>
                </c:pt>
                <c:pt idx="4684">
                  <c:v>753.5</c:v>
                </c:pt>
                <c:pt idx="4685">
                  <c:v>1543.5</c:v>
                </c:pt>
                <c:pt idx="4686">
                  <c:v>2137</c:v>
                </c:pt>
                <c:pt idx="4687">
                  <c:v>2128</c:v>
                </c:pt>
                <c:pt idx="4688">
                  <c:v>1648</c:v>
                </c:pt>
                <c:pt idx="4689">
                  <c:v>1520</c:v>
                </c:pt>
                <c:pt idx="4690">
                  <c:v>2259</c:v>
                </c:pt>
                <c:pt idx="4691">
                  <c:v>2881.5</c:v>
                </c:pt>
                <c:pt idx="4692">
                  <c:v>2411</c:v>
                </c:pt>
                <c:pt idx="4693">
                  <c:v>1258</c:v>
                </c:pt>
                <c:pt idx="4694">
                  <c:v>1332.5</c:v>
                </c:pt>
                <c:pt idx="4695">
                  <c:v>1291.5</c:v>
                </c:pt>
                <c:pt idx="4696">
                  <c:v>864.5</c:v>
                </c:pt>
                <c:pt idx="4697">
                  <c:v>568.5</c:v>
                </c:pt>
                <c:pt idx="4698">
                  <c:v>872.5</c:v>
                </c:pt>
                <c:pt idx="4699">
                  <c:v>1116.5</c:v>
                </c:pt>
                <c:pt idx="4700">
                  <c:v>1147.5</c:v>
                </c:pt>
                <c:pt idx="4701">
                  <c:v>1265</c:v>
                </c:pt>
                <c:pt idx="4702">
                  <c:v>1680</c:v>
                </c:pt>
                <c:pt idx="4703">
                  <c:v>1952.5</c:v>
                </c:pt>
                <c:pt idx="4704">
                  <c:v>1699.5</c:v>
                </c:pt>
                <c:pt idx="4705">
                  <c:v>1444.5</c:v>
                </c:pt>
                <c:pt idx="4706">
                  <c:v>1286</c:v>
                </c:pt>
                <c:pt idx="4707">
                  <c:v>1099</c:v>
                </c:pt>
                <c:pt idx="4708">
                  <c:v>819.5</c:v>
                </c:pt>
                <c:pt idx="4709">
                  <c:v>925</c:v>
                </c:pt>
                <c:pt idx="4710">
                  <c:v>1074</c:v>
                </c:pt>
                <c:pt idx="4711">
                  <c:v>929.5</c:v>
                </c:pt>
                <c:pt idx="4712">
                  <c:v>1154</c:v>
                </c:pt>
                <c:pt idx="4713">
                  <c:v>1920</c:v>
                </c:pt>
                <c:pt idx="4714">
                  <c:v>1858.5</c:v>
                </c:pt>
                <c:pt idx="4715">
                  <c:v>1566</c:v>
                </c:pt>
                <c:pt idx="4716">
                  <c:v>1535.5</c:v>
                </c:pt>
                <c:pt idx="4717">
                  <c:v>1068</c:v>
                </c:pt>
                <c:pt idx="4718">
                  <c:v>748</c:v>
                </c:pt>
                <c:pt idx="4719">
                  <c:v>777</c:v>
                </c:pt>
                <c:pt idx="4720">
                  <c:v>640</c:v>
                </c:pt>
                <c:pt idx="4721">
                  <c:v>1001</c:v>
                </c:pt>
                <c:pt idx="4722">
                  <c:v>1508.5</c:v>
                </c:pt>
                <c:pt idx="4723">
                  <c:v>1574</c:v>
                </c:pt>
                <c:pt idx="4724">
                  <c:v>1122.5</c:v>
                </c:pt>
                <c:pt idx="4725">
                  <c:v>1138.5</c:v>
                </c:pt>
                <c:pt idx="4726">
                  <c:v>1698.5</c:v>
                </c:pt>
                <c:pt idx="4727">
                  <c:v>1621</c:v>
                </c:pt>
                <c:pt idx="4728">
                  <c:v>1018</c:v>
                </c:pt>
                <c:pt idx="4729">
                  <c:v>533</c:v>
                </c:pt>
                <c:pt idx="4730">
                  <c:v>822.5</c:v>
                </c:pt>
                <c:pt idx="4731">
                  <c:v>1085</c:v>
                </c:pt>
                <c:pt idx="4732">
                  <c:v>1145.5</c:v>
                </c:pt>
                <c:pt idx="4733">
                  <c:v>1226</c:v>
                </c:pt>
                <c:pt idx="4734">
                  <c:v>913</c:v>
                </c:pt>
                <c:pt idx="4735">
                  <c:v>866.5</c:v>
                </c:pt>
                <c:pt idx="4736">
                  <c:v>1832</c:v>
                </c:pt>
                <c:pt idx="4737">
                  <c:v>1832</c:v>
                </c:pt>
                <c:pt idx="4738">
                  <c:v>914.5</c:v>
                </c:pt>
                <c:pt idx="4739">
                  <c:v>602.5</c:v>
                </c:pt>
                <c:pt idx="4740">
                  <c:v>1142</c:v>
                </c:pt>
                <c:pt idx="4741">
                  <c:v>1286.5</c:v>
                </c:pt>
                <c:pt idx="4742">
                  <c:v>1121</c:v>
                </c:pt>
                <c:pt idx="4743">
                  <c:v>1445</c:v>
                </c:pt>
                <c:pt idx="4744">
                  <c:v>1950</c:v>
                </c:pt>
                <c:pt idx="4745">
                  <c:v>1721.5</c:v>
                </c:pt>
                <c:pt idx="4746">
                  <c:v>1188.5</c:v>
                </c:pt>
                <c:pt idx="4747">
                  <c:v>1303</c:v>
                </c:pt>
                <c:pt idx="4748">
                  <c:v>1890.5</c:v>
                </c:pt>
                <c:pt idx="4749">
                  <c:v>1862.5</c:v>
                </c:pt>
                <c:pt idx="4750">
                  <c:v>1278.5</c:v>
                </c:pt>
                <c:pt idx="4751">
                  <c:v>1097.5</c:v>
                </c:pt>
                <c:pt idx="4752">
                  <c:v>1580</c:v>
                </c:pt>
                <c:pt idx="4753">
                  <c:v>1510.5</c:v>
                </c:pt>
                <c:pt idx="4754">
                  <c:v>827</c:v>
                </c:pt>
                <c:pt idx="4755">
                  <c:v>844.5</c:v>
                </c:pt>
                <c:pt idx="4756">
                  <c:v>1367</c:v>
                </c:pt>
                <c:pt idx="4757">
                  <c:v>1507</c:v>
                </c:pt>
                <c:pt idx="4758">
                  <c:v>1474</c:v>
                </c:pt>
                <c:pt idx="4759">
                  <c:v>2030.5</c:v>
                </c:pt>
                <c:pt idx="4760">
                  <c:v>2022</c:v>
                </c:pt>
                <c:pt idx="4761">
                  <c:v>2025</c:v>
                </c:pt>
                <c:pt idx="4762">
                  <c:v>2036.5</c:v>
                </c:pt>
                <c:pt idx="4763">
                  <c:v>1685.5</c:v>
                </c:pt>
                <c:pt idx="4764">
                  <c:v>1791.5</c:v>
                </c:pt>
                <c:pt idx="4765">
                  <c:v>1846.5</c:v>
                </c:pt>
                <c:pt idx="4766">
                  <c:v>1330</c:v>
                </c:pt>
                <c:pt idx="4767">
                  <c:v>1659</c:v>
                </c:pt>
                <c:pt idx="4768">
                  <c:v>2313.5</c:v>
                </c:pt>
                <c:pt idx="4769">
                  <c:v>1851</c:v>
                </c:pt>
                <c:pt idx="4770">
                  <c:v>882.5</c:v>
                </c:pt>
                <c:pt idx="4771">
                  <c:v>666</c:v>
                </c:pt>
                <c:pt idx="4772">
                  <c:v>629.5</c:v>
                </c:pt>
                <c:pt idx="4773">
                  <c:v>1324.5</c:v>
                </c:pt>
                <c:pt idx="4774">
                  <c:v>1630</c:v>
                </c:pt>
                <c:pt idx="4775">
                  <c:v>1776.5</c:v>
                </c:pt>
                <c:pt idx="4776">
                  <c:v>1930.5</c:v>
                </c:pt>
                <c:pt idx="4777">
                  <c:v>1679</c:v>
                </c:pt>
                <c:pt idx="4778">
                  <c:v>900.5</c:v>
                </c:pt>
                <c:pt idx="4779">
                  <c:v>871.5</c:v>
                </c:pt>
                <c:pt idx="4780">
                  <c:v>1482</c:v>
                </c:pt>
                <c:pt idx="4781">
                  <c:v>1543.5</c:v>
                </c:pt>
                <c:pt idx="4782">
                  <c:v>1446.5</c:v>
                </c:pt>
                <c:pt idx="4783">
                  <c:v>1237</c:v>
                </c:pt>
                <c:pt idx="4784">
                  <c:v>1670</c:v>
                </c:pt>
                <c:pt idx="4785">
                  <c:v>1650</c:v>
                </c:pt>
                <c:pt idx="4786">
                  <c:v>1125.5</c:v>
                </c:pt>
                <c:pt idx="4787">
                  <c:v>1309</c:v>
                </c:pt>
                <c:pt idx="4788">
                  <c:v>1520.5</c:v>
                </c:pt>
                <c:pt idx="4789">
                  <c:v>1440.5</c:v>
                </c:pt>
                <c:pt idx="4790">
                  <c:v>632</c:v>
                </c:pt>
                <c:pt idx="4791">
                  <c:v>1117.5</c:v>
                </c:pt>
                <c:pt idx="4792">
                  <c:v>1787.5</c:v>
                </c:pt>
                <c:pt idx="4793">
                  <c:v>1183.5</c:v>
                </c:pt>
                <c:pt idx="4794">
                  <c:v>1013</c:v>
                </c:pt>
                <c:pt idx="4795">
                  <c:v>2028</c:v>
                </c:pt>
                <c:pt idx="4796">
                  <c:v>2289</c:v>
                </c:pt>
                <c:pt idx="4797">
                  <c:v>1847.5</c:v>
                </c:pt>
                <c:pt idx="4798">
                  <c:v>1583.5</c:v>
                </c:pt>
                <c:pt idx="4799">
                  <c:v>1602.5</c:v>
                </c:pt>
                <c:pt idx="4800">
                  <c:v>1504</c:v>
                </c:pt>
                <c:pt idx="4801">
                  <c:v>1271</c:v>
                </c:pt>
                <c:pt idx="4802">
                  <c:v>1170</c:v>
                </c:pt>
                <c:pt idx="4803">
                  <c:v>1930</c:v>
                </c:pt>
                <c:pt idx="4804">
                  <c:v>2070.5</c:v>
                </c:pt>
                <c:pt idx="4805">
                  <c:v>1242.5</c:v>
                </c:pt>
                <c:pt idx="4806">
                  <c:v>1729</c:v>
                </c:pt>
                <c:pt idx="4807">
                  <c:v>2458.5</c:v>
                </c:pt>
                <c:pt idx="4808">
                  <c:v>2124.5</c:v>
                </c:pt>
                <c:pt idx="4809">
                  <c:v>1062.5</c:v>
                </c:pt>
                <c:pt idx="4810">
                  <c:v>1484.5</c:v>
                </c:pt>
                <c:pt idx="4811">
                  <c:v>1505.5</c:v>
                </c:pt>
                <c:pt idx="4812">
                  <c:v>504.5</c:v>
                </c:pt>
                <c:pt idx="4813">
                  <c:v>907.5</c:v>
                </c:pt>
                <c:pt idx="4814">
                  <c:v>954.5</c:v>
                </c:pt>
                <c:pt idx="4815">
                  <c:v>1107.5</c:v>
                </c:pt>
                <c:pt idx="4816">
                  <c:v>1648</c:v>
                </c:pt>
                <c:pt idx="4817">
                  <c:v>1881.5</c:v>
                </c:pt>
                <c:pt idx="4818">
                  <c:v>1071</c:v>
                </c:pt>
                <c:pt idx="4819">
                  <c:v>325</c:v>
                </c:pt>
                <c:pt idx="4820">
                  <c:v>893</c:v>
                </c:pt>
                <c:pt idx="4821">
                  <c:v>948</c:v>
                </c:pt>
                <c:pt idx="4822">
                  <c:v>2156</c:v>
                </c:pt>
                <c:pt idx="4823">
                  <c:v>3050.5</c:v>
                </c:pt>
                <c:pt idx="4824">
                  <c:v>2658</c:v>
                </c:pt>
                <c:pt idx="4825">
                  <c:v>1543</c:v>
                </c:pt>
                <c:pt idx="4826">
                  <c:v>1531</c:v>
                </c:pt>
                <c:pt idx="4827">
                  <c:v>1469</c:v>
                </c:pt>
                <c:pt idx="4828">
                  <c:v>859.5</c:v>
                </c:pt>
                <c:pt idx="4829">
                  <c:v>689</c:v>
                </c:pt>
                <c:pt idx="4830">
                  <c:v>981</c:v>
                </c:pt>
                <c:pt idx="4831">
                  <c:v>1050.5</c:v>
                </c:pt>
                <c:pt idx="4832">
                  <c:v>569</c:v>
                </c:pt>
                <c:pt idx="4833">
                  <c:v>1216</c:v>
                </c:pt>
                <c:pt idx="4834">
                  <c:v>1762</c:v>
                </c:pt>
                <c:pt idx="4835">
                  <c:v>1830</c:v>
                </c:pt>
                <c:pt idx="4836">
                  <c:v>2118</c:v>
                </c:pt>
                <c:pt idx="4837">
                  <c:v>1926.5</c:v>
                </c:pt>
                <c:pt idx="4838">
                  <c:v>1571.5</c:v>
                </c:pt>
                <c:pt idx="4839">
                  <c:v>1433</c:v>
                </c:pt>
                <c:pt idx="4840">
                  <c:v>1537</c:v>
                </c:pt>
                <c:pt idx="4841">
                  <c:v>1618</c:v>
                </c:pt>
                <c:pt idx="4842">
                  <c:v>1456.5</c:v>
                </c:pt>
                <c:pt idx="4843">
                  <c:v>1159.5</c:v>
                </c:pt>
                <c:pt idx="4844">
                  <c:v>1087.5</c:v>
                </c:pt>
                <c:pt idx="4845">
                  <c:v>1436.5</c:v>
                </c:pt>
                <c:pt idx="4846">
                  <c:v>1683.5</c:v>
                </c:pt>
                <c:pt idx="4847">
                  <c:v>1365</c:v>
                </c:pt>
                <c:pt idx="4848">
                  <c:v>690</c:v>
                </c:pt>
                <c:pt idx="4849">
                  <c:v>845</c:v>
                </c:pt>
                <c:pt idx="4850">
                  <c:v>1109.5</c:v>
                </c:pt>
                <c:pt idx="4851">
                  <c:v>1130.5</c:v>
                </c:pt>
                <c:pt idx="4852">
                  <c:v>847</c:v>
                </c:pt>
                <c:pt idx="4853">
                  <c:v>1281</c:v>
                </c:pt>
                <c:pt idx="4854">
                  <c:v>2047.5</c:v>
                </c:pt>
                <c:pt idx="4855">
                  <c:v>1595.5</c:v>
                </c:pt>
                <c:pt idx="4856">
                  <c:v>650</c:v>
                </c:pt>
                <c:pt idx="4857">
                  <c:v>907</c:v>
                </c:pt>
                <c:pt idx="4858">
                  <c:v>1473.5</c:v>
                </c:pt>
                <c:pt idx="4859">
                  <c:v>1568</c:v>
                </c:pt>
                <c:pt idx="4860">
                  <c:v>1264</c:v>
                </c:pt>
                <c:pt idx="4861">
                  <c:v>1606</c:v>
                </c:pt>
                <c:pt idx="4862">
                  <c:v>1411.5</c:v>
                </c:pt>
                <c:pt idx="4863">
                  <c:v>1522</c:v>
                </c:pt>
                <c:pt idx="4864">
                  <c:v>1723.5</c:v>
                </c:pt>
                <c:pt idx="4865">
                  <c:v>1832</c:v>
                </c:pt>
                <c:pt idx="4866">
                  <c:v>1602.5</c:v>
                </c:pt>
                <c:pt idx="4867">
                  <c:v>1298.5</c:v>
                </c:pt>
                <c:pt idx="4868">
                  <c:v>1493.5</c:v>
                </c:pt>
                <c:pt idx="4869">
                  <c:v>2141.5</c:v>
                </c:pt>
                <c:pt idx="4870">
                  <c:v>2609</c:v>
                </c:pt>
                <c:pt idx="4871">
                  <c:v>2780.5</c:v>
                </c:pt>
                <c:pt idx="4872">
                  <c:v>2304.5</c:v>
                </c:pt>
                <c:pt idx="4873">
                  <c:v>2145.5</c:v>
                </c:pt>
                <c:pt idx="4874">
                  <c:v>2259</c:v>
                </c:pt>
                <c:pt idx="4875">
                  <c:v>1873.5</c:v>
                </c:pt>
                <c:pt idx="4876">
                  <c:v>1469</c:v>
                </c:pt>
                <c:pt idx="4877">
                  <c:v>1696.5</c:v>
                </c:pt>
                <c:pt idx="4878">
                  <c:v>2614</c:v>
                </c:pt>
                <c:pt idx="4879">
                  <c:v>2901</c:v>
                </c:pt>
                <c:pt idx="4880">
                  <c:v>2024</c:v>
                </c:pt>
                <c:pt idx="4881">
                  <c:v>1176.5</c:v>
                </c:pt>
                <c:pt idx="4882">
                  <c:v>2171.5</c:v>
                </c:pt>
                <c:pt idx="4883">
                  <c:v>2102</c:v>
                </c:pt>
                <c:pt idx="4884">
                  <c:v>1586</c:v>
                </c:pt>
                <c:pt idx="4885">
                  <c:v>1940.5</c:v>
                </c:pt>
                <c:pt idx="4886">
                  <c:v>1950</c:v>
                </c:pt>
                <c:pt idx="4887">
                  <c:v>1817</c:v>
                </c:pt>
                <c:pt idx="4888">
                  <c:v>1832.5</c:v>
                </c:pt>
                <c:pt idx="4889">
                  <c:v>1583</c:v>
                </c:pt>
                <c:pt idx="4890">
                  <c:v>1682</c:v>
                </c:pt>
                <c:pt idx="4891">
                  <c:v>2127</c:v>
                </c:pt>
                <c:pt idx="4892">
                  <c:v>2065.5</c:v>
                </c:pt>
                <c:pt idx="4893">
                  <c:v>1149.5</c:v>
                </c:pt>
                <c:pt idx="4894">
                  <c:v>652.5</c:v>
                </c:pt>
                <c:pt idx="4895">
                  <c:v>1231.5</c:v>
                </c:pt>
                <c:pt idx="4896">
                  <c:v>682.5</c:v>
                </c:pt>
                <c:pt idx="4897">
                  <c:v>1081.5</c:v>
                </c:pt>
                <c:pt idx="4898">
                  <c:v>1874.5</c:v>
                </c:pt>
                <c:pt idx="4899">
                  <c:v>1969</c:v>
                </c:pt>
                <c:pt idx="4900">
                  <c:v>1441</c:v>
                </c:pt>
                <c:pt idx="4901">
                  <c:v>1484</c:v>
                </c:pt>
                <c:pt idx="4902">
                  <c:v>1884</c:v>
                </c:pt>
                <c:pt idx="4903">
                  <c:v>2012</c:v>
                </c:pt>
                <c:pt idx="4904">
                  <c:v>1927.5</c:v>
                </c:pt>
                <c:pt idx="4905">
                  <c:v>2078.5</c:v>
                </c:pt>
                <c:pt idx="4906">
                  <c:v>2413</c:v>
                </c:pt>
                <c:pt idx="4907">
                  <c:v>2823</c:v>
                </c:pt>
                <c:pt idx="4908">
                  <c:v>3182</c:v>
                </c:pt>
                <c:pt idx="4909">
                  <c:v>2507.5</c:v>
                </c:pt>
                <c:pt idx="4910">
                  <c:v>1087.5</c:v>
                </c:pt>
                <c:pt idx="4911">
                  <c:v>2000</c:v>
                </c:pt>
                <c:pt idx="4912">
                  <c:v>2166</c:v>
                </c:pt>
                <c:pt idx="4913">
                  <c:v>1089</c:v>
                </c:pt>
                <c:pt idx="4914">
                  <c:v>736</c:v>
                </c:pt>
                <c:pt idx="4915">
                  <c:v>2357</c:v>
                </c:pt>
                <c:pt idx="4916">
                  <c:v>3348</c:v>
                </c:pt>
                <c:pt idx="4917">
                  <c:v>3285.5</c:v>
                </c:pt>
                <c:pt idx="4918">
                  <c:v>2533</c:v>
                </c:pt>
                <c:pt idx="4919">
                  <c:v>1587.5</c:v>
                </c:pt>
                <c:pt idx="4920">
                  <c:v>1182.5</c:v>
                </c:pt>
                <c:pt idx="4921">
                  <c:v>1177.5</c:v>
                </c:pt>
                <c:pt idx="4922">
                  <c:v>819</c:v>
                </c:pt>
                <c:pt idx="4923">
                  <c:v>726</c:v>
                </c:pt>
                <c:pt idx="4924">
                  <c:v>1323</c:v>
                </c:pt>
                <c:pt idx="4925">
                  <c:v>1653.5</c:v>
                </c:pt>
                <c:pt idx="4926">
                  <c:v>1520</c:v>
                </c:pt>
                <c:pt idx="4927">
                  <c:v>1216</c:v>
                </c:pt>
                <c:pt idx="4928">
                  <c:v>1457.5</c:v>
                </c:pt>
                <c:pt idx="4929">
                  <c:v>1632.5</c:v>
                </c:pt>
                <c:pt idx="4930">
                  <c:v>1353</c:v>
                </c:pt>
                <c:pt idx="4931">
                  <c:v>1331.5</c:v>
                </c:pt>
                <c:pt idx="4932">
                  <c:v>1949.5</c:v>
                </c:pt>
                <c:pt idx="4933">
                  <c:v>2261.5</c:v>
                </c:pt>
                <c:pt idx="4934">
                  <c:v>1665</c:v>
                </c:pt>
                <c:pt idx="4935">
                  <c:v>1920.5</c:v>
                </c:pt>
                <c:pt idx="4936">
                  <c:v>2201.5</c:v>
                </c:pt>
                <c:pt idx="4937">
                  <c:v>1559</c:v>
                </c:pt>
                <c:pt idx="4938">
                  <c:v>1517</c:v>
                </c:pt>
                <c:pt idx="4939">
                  <c:v>1875</c:v>
                </c:pt>
                <c:pt idx="4940">
                  <c:v>2654</c:v>
                </c:pt>
                <c:pt idx="4941">
                  <c:v>3302</c:v>
                </c:pt>
                <c:pt idx="4942">
                  <c:v>3173</c:v>
                </c:pt>
                <c:pt idx="4943">
                  <c:v>2526.5</c:v>
                </c:pt>
                <c:pt idx="4944">
                  <c:v>2080</c:v>
                </c:pt>
                <c:pt idx="4945">
                  <c:v>1946</c:v>
                </c:pt>
                <c:pt idx="4946">
                  <c:v>998</c:v>
                </c:pt>
                <c:pt idx="4947">
                  <c:v>950.5</c:v>
                </c:pt>
                <c:pt idx="4948">
                  <c:v>1935.5</c:v>
                </c:pt>
                <c:pt idx="4949">
                  <c:v>2229.5</c:v>
                </c:pt>
                <c:pt idx="4950">
                  <c:v>1429.5</c:v>
                </c:pt>
                <c:pt idx="4951">
                  <c:v>823</c:v>
                </c:pt>
                <c:pt idx="4952">
                  <c:v>2318</c:v>
                </c:pt>
                <c:pt idx="4953">
                  <c:v>3773</c:v>
                </c:pt>
                <c:pt idx="4954">
                  <c:v>3750.5</c:v>
                </c:pt>
                <c:pt idx="4955">
                  <c:v>3653.5</c:v>
                </c:pt>
                <c:pt idx="4956">
                  <c:v>3337</c:v>
                </c:pt>
                <c:pt idx="4957">
                  <c:v>2085</c:v>
                </c:pt>
                <c:pt idx="4958">
                  <c:v>1106.5</c:v>
                </c:pt>
                <c:pt idx="4959">
                  <c:v>1340</c:v>
                </c:pt>
                <c:pt idx="4960">
                  <c:v>925.5</c:v>
                </c:pt>
                <c:pt idx="4961">
                  <c:v>1037.5</c:v>
                </c:pt>
                <c:pt idx="4962">
                  <c:v>1525.5</c:v>
                </c:pt>
                <c:pt idx="4963">
                  <c:v>1867</c:v>
                </c:pt>
                <c:pt idx="4964">
                  <c:v>1609.5</c:v>
                </c:pt>
                <c:pt idx="4965">
                  <c:v>1520.5</c:v>
                </c:pt>
                <c:pt idx="4966">
                  <c:v>1844.5</c:v>
                </c:pt>
                <c:pt idx="4967">
                  <c:v>1874</c:v>
                </c:pt>
                <c:pt idx="4968">
                  <c:v>1052.5</c:v>
                </c:pt>
                <c:pt idx="4969">
                  <c:v>604.5</c:v>
                </c:pt>
                <c:pt idx="4970">
                  <c:v>1184</c:v>
                </c:pt>
                <c:pt idx="4971">
                  <c:v>1096</c:v>
                </c:pt>
                <c:pt idx="4972">
                  <c:v>1904.5</c:v>
                </c:pt>
                <c:pt idx="4973">
                  <c:v>2599</c:v>
                </c:pt>
                <c:pt idx="4974">
                  <c:v>2479.5</c:v>
                </c:pt>
                <c:pt idx="4975">
                  <c:v>2223</c:v>
                </c:pt>
                <c:pt idx="4976">
                  <c:v>1949</c:v>
                </c:pt>
                <c:pt idx="4977">
                  <c:v>1489</c:v>
                </c:pt>
                <c:pt idx="4978">
                  <c:v>1824</c:v>
                </c:pt>
                <c:pt idx="4979">
                  <c:v>3178</c:v>
                </c:pt>
                <c:pt idx="4980">
                  <c:v>3884.5</c:v>
                </c:pt>
                <c:pt idx="4981">
                  <c:v>3695</c:v>
                </c:pt>
                <c:pt idx="4982">
                  <c:v>3129</c:v>
                </c:pt>
                <c:pt idx="4983">
                  <c:v>2673.5</c:v>
                </c:pt>
                <c:pt idx="4984">
                  <c:v>2671</c:v>
                </c:pt>
                <c:pt idx="4985">
                  <c:v>3377.5</c:v>
                </c:pt>
                <c:pt idx="4986">
                  <c:v>3962.5</c:v>
                </c:pt>
                <c:pt idx="4987">
                  <c:v>3160</c:v>
                </c:pt>
                <c:pt idx="4988">
                  <c:v>3269</c:v>
                </c:pt>
                <c:pt idx="4989">
                  <c:v>2486.5</c:v>
                </c:pt>
                <c:pt idx="4990">
                  <c:v>1954.5</c:v>
                </c:pt>
                <c:pt idx="4991">
                  <c:v>1675</c:v>
                </c:pt>
                <c:pt idx="4992">
                  <c:v>1209</c:v>
                </c:pt>
                <c:pt idx="4993">
                  <c:v>2012</c:v>
                </c:pt>
                <c:pt idx="4994">
                  <c:v>2713</c:v>
                </c:pt>
                <c:pt idx="4995">
                  <c:v>2121</c:v>
                </c:pt>
                <c:pt idx="4996">
                  <c:v>1016</c:v>
                </c:pt>
                <c:pt idx="4997">
                  <c:v>946</c:v>
                </c:pt>
                <c:pt idx="4998">
                  <c:v>1588.5</c:v>
                </c:pt>
                <c:pt idx="4999">
                  <c:v>1475</c:v>
                </c:pt>
                <c:pt idx="5000">
                  <c:v>2306.5</c:v>
                </c:pt>
                <c:pt idx="5001">
                  <c:v>2304.5</c:v>
                </c:pt>
                <c:pt idx="5002">
                  <c:v>1511</c:v>
                </c:pt>
                <c:pt idx="5003">
                  <c:v>587</c:v>
                </c:pt>
                <c:pt idx="5004">
                  <c:v>330</c:v>
                </c:pt>
                <c:pt idx="5005">
                  <c:v>1375</c:v>
                </c:pt>
                <c:pt idx="5006">
                  <c:v>1766.5</c:v>
                </c:pt>
                <c:pt idx="5007">
                  <c:v>1776.5</c:v>
                </c:pt>
                <c:pt idx="5008">
                  <c:v>2109</c:v>
                </c:pt>
                <c:pt idx="5009">
                  <c:v>1790.5</c:v>
                </c:pt>
                <c:pt idx="5010">
                  <c:v>3450</c:v>
                </c:pt>
                <c:pt idx="5011">
                  <c:v>4397.5</c:v>
                </c:pt>
                <c:pt idx="5012">
                  <c:v>4458</c:v>
                </c:pt>
                <c:pt idx="5013">
                  <c:v>4131.5</c:v>
                </c:pt>
                <c:pt idx="5014">
                  <c:v>3268.5</c:v>
                </c:pt>
                <c:pt idx="5015">
                  <c:v>2828.5</c:v>
                </c:pt>
                <c:pt idx="5016">
                  <c:v>2757</c:v>
                </c:pt>
                <c:pt idx="5017">
                  <c:v>1443.5</c:v>
                </c:pt>
                <c:pt idx="5018">
                  <c:v>1305.5</c:v>
                </c:pt>
                <c:pt idx="5019">
                  <c:v>1640.5</c:v>
                </c:pt>
                <c:pt idx="5020">
                  <c:v>1095</c:v>
                </c:pt>
                <c:pt idx="5021">
                  <c:v>1446.5</c:v>
                </c:pt>
                <c:pt idx="5022">
                  <c:v>667.5</c:v>
                </c:pt>
                <c:pt idx="5023">
                  <c:v>1091.5</c:v>
                </c:pt>
                <c:pt idx="5024">
                  <c:v>1944.5</c:v>
                </c:pt>
                <c:pt idx="5025">
                  <c:v>2131</c:v>
                </c:pt>
                <c:pt idx="5026">
                  <c:v>1583</c:v>
                </c:pt>
                <c:pt idx="5027">
                  <c:v>1011</c:v>
                </c:pt>
                <c:pt idx="5028">
                  <c:v>782</c:v>
                </c:pt>
                <c:pt idx="5029">
                  <c:v>716</c:v>
                </c:pt>
                <c:pt idx="5030">
                  <c:v>986</c:v>
                </c:pt>
                <c:pt idx="5031">
                  <c:v>1567.5</c:v>
                </c:pt>
                <c:pt idx="5032">
                  <c:v>2636</c:v>
                </c:pt>
                <c:pt idx="5033">
                  <c:v>3010</c:v>
                </c:pt>
                <c:pt idx="5034">
                  <c:v>2505</c:v>
                </c:pt>
                <c:pt idx="5035">
                  <c:v>2587.5</c:v>
                </c:pt>
                <c:pt idx="5036">
                  <c:v>3686.5</c:v>
                </c:pt>
                <c:pt idx="5037">
                  <c:v>4471</c:v>
                </c:pt>
                <c:pt idx="5038">
                  <c:v>4008.5</c:v>
                </c:pt>
                <c:pt idx="5039">
                  <c:v>2526</c:v>
                </c:pt>
                <c:pt idx="5040">
                  <c:v>1978</c:v>
                </c:pt>
                <c:pt idx="5041">
                  <c:v>2276</c:v>
                </c:pt>
                <c:pt idx="5042">
                  <c:v>1819.5</c:v>
                </c:pt>
                <c:pt idx="5043">
                  <c:v>2254.5</c:v>
                </c:pt>
                <c:pt idx="5044">
                  <c:v>1743.5</c:v>
                </c:pt>
                <c:pt idx="5045">
                  <c:v>1120</c:v>
                </c:pt>
                <c:pt idx="5046">
                  <c:v>1432.5</c:v>
                </c:pt>
                <c:pt idx="5047">
                  <c:v>1743</c:v>
                </c:pt>
                <c:pt idx="5048">
                  <c:v>2727.5</c:v>
                </c:pt>
                <c:pt idx="5049">
                  <c:v>2905</c:v>
                </c:pt>
                <c:pt idx="5050">
                  <c:v>2442</c:v>
                </c:pt>
                <c:pt idx="5051">
                  <c:v>1630</c:v>
                </c:pt>
                <c:pt idx="5052">
                  <c:v>978.5</c:v>
                </c:pt>
                <c:pt idx="5053">
                  <c:v>1239.5</c:v>
                </c:pt>
                <c:pt idx="5054">
                  <c:v>1322.5</c:v>
                </c:pt>
                <c:pt idx="5055">
                  <c:v>1510.5</c:v>
                </c:pt>
                <c:pt idx="5056">
                  <c:v>2043</c:v>
                </c:pt>
                <c:pt idx="5057">
                  <c:v>2613.5</c:v>
                </c:pt>
                <c:pt idx="5058">
                  <c:v>2896.5</c:v>
                </c:pt>
                <c:pt idx="5059">
                  <c:v>3126</c:v>
                </c:pt>
                <c:pt idx="5060">
                  <c:v>3754.5</c:v>
                </c:pt>
                <c:pt idx="5061">
                  <c:v>3369</c:v>
                </c:pt>
                <c:pt idx="5062">
                  <c:v>1597.5</c:v>
                </c:pt>
                <c:pt idx="5063">
                  <c:v>523.5</c:v>
                </c:pt>
                <c:pt idx="5064">
                  <c:v>1417.5</c:v>
                </c:pt>
                <c:pt idx="5065">
                  <c:v>2490.5</c:v>
                </c:pt>
                <c:pt idx="5066">
                  <c:v>3236.5</c:v>
                </c:pt>
                <c:pt idx="5067">
                  <c:v>4046.5</c:v>
                </c:pt>
                <c:pt idx="5068">
                  <c:v>4578.5</c:v>
                </c:pt>
                <c:pt idx="5069">
                  <c:v>3549</c:v>
                </c:pt>
                <c:pt idx="5070">
                  <c:v>1386.5</c:v>
                </c:pt>
                <c:pt idx="5071">
                  <c:v>1926</c:v>
                </c:pt>
                <c:pt idx="5072">
                  <c:v>1671.5</c:v>
                </c:pt>
                <c:pt idx="5073">
                  <c:v>1470</c:v>
                </c:pt>
                <c:pt idx="5074">
                  <c:v>1322.5</c:v>
                </c:pt>
                <c:pt idx="5075">
                  <c:v>968.5</c:v>
                </c:pt>
                <c:pt idx="5076">
                  <c:v>1957</c:v>
                </c:pt>
                <c:pt idx="5077">
                  <c:v>2576.5</c:v>
                </c:pt>
                <c:pt idx="5078">
                  <c:v>3194</c:v>
                </c:pt>
                <c:pt idx="5079">
                  <c:v>3615</c:v>
                </c:pt>
                <c:pt idx="5080">
                  <c:v>3088.5</c:v>
                </c:pt>
                <c:pt idx="5081">
                  <c:v>2654</c:v>
                </c:pt>
                <c:pt idx="5082">
                  <c:v>2522</c:v>
                </c:pt>
                <c:pt idx="5083">
                  <c:v>2087</c:v>
                </c:pt>
                <c:pt idx="5084">
                  <c:v>1860</c:v>
                </c:pt>
                <c:pt idx="5085">
                  <c:v>2586.5</c:v>
                </c:pt>
                <c:pt idx="5086">
                  <c:v>2855</c:v>
                </c:pt>
                <c:pt idx="5087">
                  <c:v>2047.5</c:v>
                </c:pt>
                <c:pt idx="5088">
                  <c:v>1937.5</c:v>
                </c:pt>
                <c:pt idx="5089">
                  <c:v>1900.5</c:v>
                </c:pt>
                <c:pt idx="5090">
                  <c:v>1671.5</c:v>
                </c:pt>
                <c:pt idx="5091">
                  <c:v>2256</c:v>
                </c:pt>
                <c:pt idx="5092">
                  <c:v>2071</c:v>
                </c:pt>
                <c:pt idx="5093">
                  <c:v>1510</c:v>
                </c:pt>
                <c:pt idx="5094">
                  <c:v>1903.5</c:v>
                </c:pt>
                <c:pt idx="5095">
                  <c:v>1389</c:v>
                </c:pt>
                <c:pt idx="5096">
                  <c:v>1017</c:v>
                </c:pt>
                <c:pt idx="5097">
                  <c:v>1315</c:v>
                </c:pt>
                <c:pt idx="5098">
                  <c:v>1911</c:v>
                </c:pt>
                <c:pt idx="5099">
                  <c:v>2076</c:v>
                </c:pt>
                <c:pt idx="5100">
                  <c:v>1581</c:v>
                </c:pt>
                <c:pt idx="5101">
                  <c:v>1959</c:v>
                </c:pt>
                <c:pt idx="5102">
                  <c:v>2487</c:v>
                </c:pt>
                <c:pt idx="5103">
                  <c:v>1932</c:v>
                </c:pt>
                <c:pt idx="5104">
                  <c:v>1373</c:v>
                </c:pt>
                <c:pt idx="5105">
                  <c:v>2545</c:v>
                </c:pt>
                <c:pt idx="5106">
                  <c:v>2497.5</c:v>
                </c:pt>
                <c:pt idx="5107">
                  <c:v>1504</c:v>
                </c:pt>
                <c:pt idx="5108">
                  <c:v>1017</c:v>
                </c:pt>
                <c:pt idx="5109">
                  <c:v>1282</c:v>
                </c:pt>
                <c:pt idx="5110">
                  <c:v>1476</c:v>
                </c:pt>
                <c:pt idx="5111">
                  <c:v>1376.5</c:v>
                </c:pt>
                <c:pt idx="5112">
                  <c:v>1658</c:v>
                </c:pt>
                <c:pt idx="5113">
                  <c:v>2166.5</c:v>
                </c:pt>
                <c:pt idx="5114">
                  <c:v>1917</c:v>
                </c:pt>
                <c:pt idx="5115">
                  <c:v>1219.5</c:v>
                </c:pt>
                <c:pt idx="5116">
                  <c:v>969</c:v>
                </c:pt>
                <c:pt idx="5117">
                  <c:v>1643.5</c:v>
                </c:pt>
                <c:pt idx="5118">
                  <c:v>2495</c:v>
                </c:pt>
                <c:pt idx="5119">
                  <c:v>2665.5</c:v>
                </c:pt>
                <c:pt idx="5120">
                  <c:v>2415.5</c:v>
                </c:pt>
                <c:pt idx="5121">
                  <c:v>1430.5</c:v>
                </c:pt>
                <c:pt idx="5122">
                  <c:v>1080.5</c:v>
                </c:pt>
                <c:pt idx="5123">
                  <c:v>2599</c:v>
                </c:pt>
                <c:pt idx="5124">
                  <c:v>2666</c:v>
                </c:pt>
                <c:pt idx="5125">
                  <c:v>1854.5</c:v>
                </c:pt>
                <c:pt idx="5126">
                  <c:v>1627.5</c:v>
                </c:pt>
                <c:pt idx="5127">
                  <c:v>2376</c:v>
                </c:pt>
                <c:pt idx="5128">
                  <c:v>3581.5</c:v>
                </c:pt>
                <c:pt idx="5129">
                  <c:v>4687</c:v>
                </c:pt>
                <c:pt idx="5130">
                  <c:v>4728</c:v>
                </c:pt>
                <c:pt idx="5131">
                  <c:v>4029</c:v>
                </c:pt>
                <c:pt idx="5132">
                  <c:v>3768.5</c:v>
                </c:pt>
                <c:pt idx="5133">
                  <c:v>4165</c:v>
                </c:pt>
                <c:pt idx="5134">
                  <c:v>4774.5</c:v>
                </c:pt>
                <c:pt idx="5135">
                  <c:v>5278</c:v>
                </c:pt>
                <c:pt idx="5136">
                  <c:v>4935</c:v>
                </c:pt>
                <c:pt idx="5137">
                  <c:v>3267.5</c:v>
                </c:pt>
                <c:pt idx="5138">
                  <c:v>1546.5</c:v>
                </c:pt>
                <c:pt idx="5139">
                  <c:v>2170.5</c:v>
                </c:pt>
                <c:pt idx="5140">
                  <c:v>2883.5</c:v>
                </c:pt>
                <c:pt idx="5141">
                  <c:v>2329</c:v>
                </c:pt>
                <c:pt idx="5142">
                  <c:v>1779.5</c:v>
                </c:pt>
                <c:pt idx="5143">
                  <c:v>1633</c:v>
                </c:pt>
                <c:pt idx="5144">
                  <c:v>2247</c:v>
                </c:pt>
                <c:pt idx="5145">
                  <c:v>3377</c:v>
                </c:pt>
                <c:pt idx="5146">
                  <c:v>4548</c:v>
                </c:pt>
                <c:pt idx="5147">
                  <c:v>4853</c:v>
                </c:pt>
                <c:pt idx="5148">
                  <c:v>4593</c:v>
                </c:pt>
                <c:pt idx="5149">
                  <c:v>3744</c:v>
                </c:pt>
                <c:pt idx="5150">
                  <c:v>3231</c:v>
                </c:pt>
                <c:pt idx="5151">
                  <c:v>3238.5</c:v>
                </c:pt>
                <c:pt idx="5152">
                  <c:v>2621.5</c:v>
                </c:pt>
                <c:pt idx="5153">
                  <c:v>3281.5</c:v>
                </c:pt>
                <c:pt idx="5154">
                  <c:v>4621</c:v>
                </c:pt>
                <c:pt idx="5155">
                  <c:v>5219.5</c:v>
                </c:pt>
                <c:pt idx="5156">
                  <c:v>4739</c:v>
                </c:pt>
                <c:pt idx="5157">
                  <c:v>4193.5</c:v>
                </c:pt>
                <c:pt idx="5158">
                  <c:v>4526.5</c:v>
                </c:pt>
                <c:pt idx="5159">
                  <c:v>4772</c:v>
                </c:pt>
                <c:pt idx="5160">
                  <c:v>3734</c:v>
                </c:pt>
                <c:pt idx="5161">
                  <c:v>3576</c:v>
                </c:pt>
                <c:pt idx="5162">
                  <c:v>4595</c:v>
                </c:pt>
                <c:pt idx="5163">
                  <c:v>3826.5</c:v>
                </c:pt>
                <c:pt idx="5164">
                  <c:v>1481.5</c:v>
                </c:pt>
                <c:pt idx="5165">
                  <c:v>3066.5</c:v>
                </c:pt>
                <c:pt idx="5166">
                  <c:v>5531</c:v>
                </c:pt>
                <c:pt idx="5167">
                  <c:v>6290.5</c:v>
                </c:pt>
                <c:pt idx="5168">
                  <c:v>5452.5</c:v>
                </c:pt>
                <c:pt idx="5169">
                  <c:v>3792.5</c:v>
                </c:pt>
                <c:pt idx="5170">
                  <c:v>2419</c:v>
                </c:pt>
                <c:pt idx="5171">
                  <c:v>2333.5</c:v>
                </c:pt>
                <c:pt idx="5172">
                  <c:v>3585.5</c:v>
                </c:pt>
                <c:pt idx="5173">
                  <c:v>4736.5</c:v>
                </c:pt>
                <c:pt idx="5174">
                  <c:v>4049</c:v>
                </c:pt>
                <c:pt idx="5175">
                  <c:v>2879</c:v>
                </c:pt>
                <c:pt idx="5176">
                  <c:v>2217</c:v>
                </c:pt>
                <c:pt idx="5177">
                  <c:v>3091</c:v>
                </c:pt>
                <c:pt idx="5178">
                  <c:v>5360.5</c:v>
                </c:pt>
                <c:pt idx="5179">
                  <c:v>5838</c:v>
                </c:pt>
                <c:pt idx="5180">
                  <c:v>3543</c:v>
                </c:pt>
                <c:pt idx="5181">
                  <c:v>1486.5</c:v>
                </c:pt>
                <c:pt idx="5182">
                  <c:v>942.5</c:v>
                </c:pt>
                <c:pt idx="5183">
                  <c:v>1030.5</c:v>
                </c:pt>
                <c:pt idx="5184">
                  <c:v>1048.5</c:v>
                </c:pt>
                <c:pt idx="5185">
                  <c:v>1127</c:v>
                </c:pt>
                <c:pt idx="5186">
                  <c:v>1233</c:v>
                </c:pt>
                <c:pt idx="5187">
                  <c:v>1233.5</c:v>
                </c:pt>
                <c:pt idx="5188">
                  <c:v>1265</c:v>
                </c:pt>
                <c:pt idx="5189">
                  <c:v>1387.5</c:v>
                </c:pt>
                <c:pt idx="5190">
                  <c:v>1510</c:v>
                </c:pt>
                <c:pt idx="5191">
                  <c:v>1581</c:v>
                </c:pt>
                <c:pt idx="5192">
                  <c:v>1643.5</c:v>
                </c:pt>
                <c:pt idx="5193">
                  <c:v>1657.5</c:v>
                </c:pt>
                <c:pt idx="5194">
                  <c:v>1627</c:v>
                </c:pt>
                <c:pt idx="5195">
                  <c:v>1586.5</c:v>
                </c:pt>
                <c:pt idx="5196">
                  <c:v>1511.5</c:v>
                </c:pt>
                <c:pt idx="5197">
                  <c:v>1467</c:v>
                </c:pt>
                <c:pt idx="5198">
                  <c:v>1490.5</c:v>
                </c:pt>
                <c:pt idx="5199">
                  <c:v>1547</c:v>
                </c:pt>
                <c:pt idx="5200">
                  <c:v>1638</c:v>
                </c:pt>
                <c:pt idx="5201">
                  <c:v>1745</c:v>
                </c:pt>
                <c:pt idx="5202">
                  <c:v>1836.5</c:v>
                </c:pt>
                <c:pt idx="5203">
                  <c:v>1926</c:v>
                </c:pt>
                <c:pt idx="5204">
                  <c:v>1997</c:v>
                </c:pt>
                <c:pt idx="5205">
                  <c:v>2020</c:v>
                </c:pt>
                <c:pt idx="5206">
                  <c:v>1991</c:v>
                </c:pt>
                <c:pt idx="5207">
                  <c:v>1901</c:v>
                </c:pt>
                <c:pt idx="5208">
                  <c:v>1765</c:v>
                </c:pt>
                <c:pt idx="5209">
                  <c:v>1638.5</c:v>
                </c:pt>
                <c:pt idx="5210">
                  <c:v>1545.5</c:v>
                </c:pt>
                <c:pt idx="5211">
                  <c:v>1470.5</c:v>
                </c:pt>
                <c:pt idx="5212">
                  <c:v>1435</c:v>
                </c:pt>
                <c:pt idx="5213">
                  <c:v>1446</c:v>
                </c:pt>
                <c:pt idx="5214">
                  <c:v>1457</c:v>
                </c:pt>
                <c:pt idx="5215">
                  <c:v>1446</c:v>
                </c:pt>
                <c:pt idx="5216">
                  <c:v>1420</c:v>
                </c:pt>
                <c:pt idx="5217">
                  <c:v>1391.5</c:v>
                </c:pt>
                <c:pt idx="5218">
                  <c:v>1346.5</c:v>
                </c:pt>
                <c:pt idx="5219">
                  <c:v>1272.5</c:v>
                </c:pt>
                <c:pt idx="5220">
                  <c:v>1176</c:v>
                </c:pt>
                <c:pt idx="5221">
                  <c:v>1071.5</c:v>
                </c:pt>
                <c:pt idx="5222">
                  <c:v>1025</c:v>
                </c:pt>
                <c:pt idx="5223">
                  <c:v>1000.5</c:v>
                </c:pt>
                <c:pt idx="5224">
                  <c:v>952</c:v>
                </c:pt>
                <c:pt idx="5225">
                  <c:v>891</c:v>
                </c:pt>
                <c:pt idx="5226">
                  <c:v>818</c:v>
                </c:pt>
                <c:pt idx="5227">
                  <c:v>754.5</c:v>
                </c:pt>
                <c:pt idx="5228">
                  <c:v>721.5</c:v>
                </c:pt>
                <c:pt idx="5229">
                  <c:v>735.5</c:v>
                </c:pt>
                <c:pt idx="5230">
                  <c:v>793.5</c:v>
                </c:pt>
                <c:pt idx="5231">
                  <c:v>867</c:v>
                </c:pt>
                <c:pt idx="5232">
                  <c:v>942</c:v>
                </c:pt>
                <c:pt idx="5233">
                  <c:v>1004</c:v>
                </c:pt>
                <c:pt idx="5234">
                  <c:v>1045</c:v>
                </c:pt>
                <c:pt idx="5235">
                  <c:v>1053</c:v>
                </c:pt>
                <c:pt idx="5236">
                  <c:v>1044.5</c:v>
                </c:pt>
                <c:pt idx="5237">
                  <c:v>1026.5</c:v>
                </c:pt>
                <c:pt idx="5238">
                  <c:v>1015</c:v>
                </c:pt>
                <c:pt idx="5239">
                  <c:v>1012.5</c:v>
                </c:pt>
                <c:pt idx="5240">
                  <c:v>1008</c:v>
                </c:pt>
                <c:pt idx="5241">
                  <c:v>994</c:v>
                </c:pt>
                <c:pt idx="5242">
                  <c:v>976.5</c:v>
                </c:pt>
                <c:pt idx="5243">
                  <c:v>967.5</c:v>
                </c:pt>
                <c:pt idx="5244">
                  <c:v>971.5</c:v>
                </c:pt>
                <c:pt idx="5245">
                  <c:v>983</c:v>
                </c:pt>
                <c:pt idx="5246">
                  <c:v>989</c:v>
                </c:pt>
                <c:pt idx="5247">
                  <c:v>976</c:v>
                </c:pt>
                <c:pt idx="5248">
                  <c:v>938.5</c:v>
                </c:pt>
                <c:pt idx="5249">
                  <c:v>880</c:v>
                </c:pt>
                <c:pt idx="5250">
                  <c:v>814</c:v>
                </c:pt>
                <c:pt idx="5251">
                  <c:v>754.5</c:v>
                </c:pt>
                <c:pt idx="5252">
                  <c:v>714.5</c:v>
                </c:pt>
                <c:pt idx="5253">
                  <c:v>692</c:v>
                </c:pt>
                <c:pt idx="5254">
                  <c:v>676</c:v>
                </c:pt>
                <c:pt idx="5255">
                  <c:v>651.5</c:v>
                </c:pt>
                <c:pt idx="5256">
                  <c:v>608</c:v>
                </c:pt>
                <c:pt idx="5257">
                  <c:v>556</c:v>
                </c:pt>
                <c:pt idx="5258">
                  <c:v>496</c:v>
                </c:pt>
                <c:pt idx="5259">
                  <c:v>427</c:v>
                </c:pt>
                <c:pt idx="5260">
                  <c:v>372.5</c:v>
                </c:pt>
                <c:pt idx="5261">
                  <c:v>361</c:v>
                </c:pt>
                <c:pt idx="5262">
                  <c:v>345.5</c:v>
                </c:pt>
                <c:pt idx="5263">
                  <c:v>320.5</c:v>
                </c:pt>
                <c:pt idx="5264">
                  <c:v>283.5</c:v>
                </c:pt>
                <c:pt idx="5265">
                  <c:v>268</c:v>
                </c:pt>
                <c:pt idx="5266">
                  <c:v>270</c:v>
                </c:pt>
                <c:pt idx="5267">
                  <c:v>275</c:v>
                </c:pt>
                <c:pt idx="5268">
                  <c:v>278.5</c:v>
                </c:pt>
                <c:pt idx="5269">
                  <c:v>282.5</c:v>
                </c:pt>
                <c:pt idx="5270">
                  <c:v>290</c:v>
                </c:pt>
                <c:pt idx="5271">
                  <c:v>303.5</c:v>
                </c:pt>
                <c:pt idx="5272">
                  <c:v>316.5</c:v>
                </c:pt>
                <c:pt idx="5273">
                  <c:v>333.5</c:v>
                </c:pt>
                <c:pt idx="5274">
                  <c:v>349.5</c:v>
                </c:pt>
                <c:pt idx="5275">
                  <c:v>364.5</c:v>
                </c:pt>
                <c:pt idx="5276">
                  <c:v>378</c:v>
                </c:pt>
                <c:pt idx="5277">
                  <c:v>372.5</c:v>
                </c:pt>
                <c:pt idx="5278">
                  <c:v>359.5</c:v>
                </c:pt>
                <c:pt idx="5279">
                  <c:v>361</c:v>
                </c:pt>
                <c:pt idx="5280">
                  <c:v>351</c:v>
                </c:pt>
                <c:pt idx="5281">
                  <c:v>351.5</c:v>
                </c:pt>
                <c:pt idx="5282">
                  <c:v>363.5</c:v>
                </c:pt>
                <c:pt idx="5283">
                  <c:v>340</c:v>
                </c:pt>
                <c:pt idx="5284">
                  <c:v>299</c:v>
                </c:pt>
                <c:pt idx="5285">
                  <c:v>276</c:v>
                </c:pt>
                <c:pt idx="5286">
                  <c:v>247.5</c:v>
                </c:pt>
                <c:pt idx="5287">
                  <c:v>215</c:v>
                </c:pt>
                <c:pt idx="5288">
                  <c:v>185.5</c:v>
                </c:pt>
                <c:pt idx="5289">
                  <c:v>151</c:v>
                </c:pt>
                <c:pt idx="5290">
                  <c:v>130</c:v>
                </c:pt>
                <c:pt idx="5291">
                  <c:v>123</c:v>
                </c:pt>
                <c:pt idx="5292">
                  <c:v>119.5</c:v>
                </c:pt>
                <c:pt idx="5293">
                  <c:v>113</c:v>
                </c:pt>
                <c:pt idx="5294">
                  <c:v>105.5</c:v>
                </c:pt>
                <c:pt idx="5295">
                  <c:v>98</c:v>
                </c:pt>
                <c:pt idx="5296">
                  <c:v>98</c:v>
                </c:pt>
                <c:pt idx="5297">
                  <c:v>87.5</c:v>
                </c:pt>
                <c:pt idx="5298">
                  <c:v>87</c:v>
                </c:pt>
                <c:pt idx="5299">
                  <c:v>88</c:v>
                </c:pt>
                <c:pt idx="5300">
                  <c:v>94.5</c:v>
                </c:pt>
                <c:pt idx="5301">
                  <c:v>102</c:v>
                </c:pt>
                <c:pt idx="5302">
                  <c:v>102.5</c:v>
                </c:pt>
                <c:pt idx="5303">
                  <c:v>110.5</c:v>
                </c:pt>
                <c:pt idx="5304">
                  <c:v>115</c:v>
                </c:pt>
                <c:pt idx="5305">
                  <c:v>118</c:v>
                </c:pt>
                <c:pt idx="5306">
                  <c:v>121.5</c:v>
                </c:pt>
                <c:pt idx="5307">
                  <c:v>120.5</c:v>
                </c:pt>
                <c:pt idx="5308">
                  <c:v>130.5</c:v>
                </c:pt>
                <c:pt idx="5309">
                  <c:v>143</c:v>
                </c:pt>
                <c:pt idx="5310">
                  <c:v>127</c:v>
                </c:pt>
                <c:pt idx="5311">
                  <c:v>128</c:v>
                </c:pt>
                <c:pt idx="5312">
                  <c:v>131.5</c:v>
                </c:pt>
                <c:pt idx="5313">
                  <c:v>130.5</c:v>
                </c:pt>
                <c:pt idx="5314">
                  <c:v>131.5</c:v>
                </c:pt>
                <c:pt idx="5315">
                  <c:v>130.5</c:v>
                </c:pt>
                <c:pt idx="5316">
                  <c:v>136.5</c:v>
                </c:pt>
                <c:pt idx="5317">
                  <c:v>131.5</c:v>
                </c:pt>
                <c:pt idx="5318">
                  <c:v>125</c:v>
                </c:pt>
                <c:pt idx="5319">
                  <c:v>136.5</c:v>
                </c:pt>
                <c:pt idx="5320">
                  <c:v>132</c:v>
                </c:pt>
                <c:pt idx="5321">
                  <c:v>108.5</c:v>
                </c:pt>
                <c:pt idx="5322">
                  <c:v>113</c:v>
                </c:pt>
                <c:pt idx="5323">
                  <c:v>107</c:v>
                </c:pt>
                <c:pt idx="5324">
                  <c:v>98</c:v>
                </c:pt>
                <c:pt idx="5325">
                  <c:v>96</c:v>
                </c:pt>
                <c:pt idx="5326">
                  <c:v>92</c:v>
                </c:pt>
                <c:pt idx="5327">
                  <c:v>100</c:v>
                </c:pt>
                <c:pt idx="5328">
                  <c:v>81</c:v>
                </c:pt>
                <c:pt idx="5329">
                  <c:v>69.5</c:v>
                </c:pt>
                <c:pt idx="5330">
                  <c:v>65.5</c:v>
                </c:pt>
                <c:pt idx="5331">
                  <c:v>60</c:v>
                </c:pt>
                <c:pt idx="5332">
                  <c:v>62.5</c:v>
                </c:pt>
                <c:pt idx="5333">
                  <c:v>59</c:v>
                </c:pt>
                <c:pt idx="5334">
                  <c:v>49</c:v>
                </c:pt>
                <c:pt idx="5335">
                  <c:v>42.5</c:v>
                </c:pt>
                <c:pt idx="5336">
                  <c:v>42</c:v>
                </c:pt>
                <c:pt idx="5337">
                  <c:v>34.5</c:v>
                </c:pt>
                <c:pt idx="5338">
                  <c:v>36</c:v>
                </c:pt>
                <c:pt idx="5339">
                  <c:v>30.5</c:v>
                </c:pt>
                <c:pt idx="5340">
                  <c:v>30</c:v>
                </c:pt>
                <c:pt idx="5341">
                  <c:v>23.5</c:v>
                </c:pt>
                <c:pt idx="5342">
                  <c:v>26.5</c:v>
                </c:pt>
                <c:pt idx="5343">
                  <c:v>27.5</c:v>
                </c:pt>
                <c:pt idx="5344">
                  <c:v>19</c:v>
                </c:pt>
                <c:pt idx="5345">
                  <c:v>36</c:v>
                </c:pt>
                <c:pt idx="5346">
                  <c:v>32.5</c:v>
                </c:pt>
                <c:pt idx="5347">
                  <c:v>44</c:v>
                </c:pt>
                <c:pt idx="5348">
                  <c:v>39</c:v>
                </c:pt>
                <c:pt idx="5349">
                  <c:v>24</c:v>
                </c:pt>
                <c:pt idx="5350">
                  <c:v>22</c:v>
                </c:pt>
                <c:pt idx="5351">
                  <c:v>11</c:v>
                </c:pt>
                <c:pt idx="5352">
                  <c:v>8.5</c:v>
                </c:pt>
                <c:pt idx="5353">
                  <c:v>5.5</c:v>
                </c:pt>
                <c:pt idx="5354">
                  <c:v>8</c:v>
                </c:pt>
                <c:pt idx="5355">
                  <c:v>5.5</c:v>
                </c:pt>
                <c:pt idx="5356">
                  <c:v>12.5</c:v>
                </c:pt>
                <c:pt idx="5357">
                  <c:v>8.5</c:v>
                </c:pt>
                <c:pt idx="5358">
                  <c:v>7.5</c:v>
                </c:pt>
                <c:pt idx="5359">
                  <c:v>14.5</c:v>
                </c:pt>
                <c:pt idx="5360">
                  <c:v>5.5</c:v>
                </c:pt>
                <c:pt idx="5361">
                  <c:v>5</c:v>
                </c:pt>
                <c:pt idx="5362">
                  <c:v>6.5</c:v>
                </c:pt>
                <c:pt idx="5363">
                  <c:v>3</c:v>
                </c:pt>
                <c:pt idx="5364">
                  <c:v>3.5</c:v>
                </c:pt>
                <c:pt idx="5365">
                  <c:v>4.5</c:v>
                </c:pt>
                <c:pt idx="5366">
                  <c:v>3</c:v>
                </c:pt>
                <c:pt idx="5367">
                  <c:v>4.5</c:v>
                </c:pt>
                <c:pt idx="5368">
                  <c:v>5.5</c:v>
                </c:pt>
                <c:pt idx="5369">
                  <c:v>7</c:v>
                </c:pt>
                <c:pt idx="5370">
                  <c:v>6</c:v>
                </c:pt>
                <c:pt idx="5371">
                  <c:v>1</c:v>
                </c:pt>
                <c:pt idx="5372">
                  <c:v>2</c:v>
                </c:pt>
                <c:pt idx="5373">
                  <c:v>2.5</c:v>
                </c:pt>
                <c:pt idx="5374">
                  <c:v>3</c:v>
                </c:pt>
                <c:pt idx="5375">
                  <c:v>3.5</c:v>
                </c:pt>
                <c:pt idx="5376">
                  <c:v>2</c:v>
                </c:pt>
                <c:pt idx="5377">
                  <c:v>3</c:v>
                </c:pt>
                <c:pt idx="5378">
                  <c:v>2.5</c:v>
                </c:pt>
                <c:pt idx="5379">
                  <c:v>4</c:v>
                </c:pt>
                <c:pt idx="5380">
                  <c:v>6</c:v>
                </c:pt>
                <c:pt idx="5381">
                  <c:v>7</c:v>
                </c:pt>
                <c:pt idx="5382">
                  <c:v>5.5</c:v>
                </c:pt>
                <c:pt idx="5383">
                  <c:v>4</c:v>
                </c:pt>
                <c:pt idx="5384">
                  <c:v>3.5</c:v>
                </c:pt>
                <c:pt idx="5385">
                  <c:v>3</c:v>
                </c:pt>
                <c:pt idx="5386">
                  <c:v>2.5</c:v>
                </c:pt>
                <c:pt idx="5387">
                  <c:v>3</c:v>
                </c:pt>
                <c:pt idx="5388">
                  <c:v>6.5</c:v>
                </c:pt>
                <c:pt idx="5389">
                  <c:v>6.5</c:v>
                </c:pt>
                <c:pt idx="5390">
                  <c:v>3.5</c:v>
                </c:pt>
                <c:pt idx="5391">
                  <c:v>6</c:v>
                </c:pt>
                <c:pt idx="5392">
                  <c:v>8.5</c:v>
                </c:pt>
                <c:pt idx="5393">
                  <c:v>8</c:v>
                </c:pt>
                <c:pt idx="5394">
                  <c:v>6</c:v>
                </c:pt>
                <c:pt idx="5395">
                  <c:v>3.5</c:v>
                </c:pt>
                <c:pt idx="5396">
                  <c:v>1.5</c:v>
                </c:pt>
                <c:pt idx="5397">
                  <c:v>1.5</c:v>
                </c:pt>
                <c:pt idx="5398">
                  <c:v>0.5</c:v>
                </c:pt>
                <c:pt idx="5399">
                  <c:v>2</c:v>
                </c:pt>
                <c:pt idx="5400">
                  <c:v>1.5</c:v>
                </c:pt>
                <c:pt idx="5401">
                  <c:v>1</c:v>
                </c:pt>
                <c:pt idx="5402">
                  <c:v>0.5</c:v>
                </c:pt>
                <c:pt idx="5403">
                  <c:v>2</c:v>
                </c:pt>
                <c:pt idx="5404">
                  <c:v>4</c:v>
                </c:pt>
                <c:pt idx="5405">
                  <c:v>3</c:v>
                </c:pt>
                <c:pt idx="5406">
                  <c:v>2</c:v>
                </c:pt>
                <c:pt idx="5407">
                  <c:v>1.5</c:v>
                </c:pt>
                <c:pt idx="5408">
                  <c:v>1.5</c:v>
                </c:pt>
                <c:pt idx="5409">
                  <c:v>1.5</c:v>
                </c:pt>
                <c:pt idx="5410">
                  <c:v>4</c:v>
                </c:pt>
                <c:pt idx="5411">
                  <c:v>4.5</c:v>
                </c:pt>
                <c:pt idx="5412">
                  <c:v>2.5</c:v>
                </c:pt>
                <c:pt idx="5413">
                  <c:v>2.5</c:v>
                </c:pt>
                <c:pt idx="5414">
                  <c:v>2</c:v>
                </c:pt>
                <c:pt idx="5415">
                  <c:v>3.5</c:v>
                </c:pt>
                <c:pt idx="5416">
                  <c:v>7.5</c:v>
                </c:pt>
                <c:pt idx="5417">
                  <c:v>7</c:v>
                </c:pt>
                <c:pt idx="5418">
                  <c:v>2</c:v>
                </c:pt>
                <c:pt idx="5419">
                  <c:v>2.5</c:v>
                </c:pt>
                <c:pt idx="5420">
                  <c:v>3.5</c:v>
                </c:pt>
                <c:pt idx="5421">
                  <c:v>3</c:v>
                </c:pt>
                <c:pt idx="5422">
                  <c:v>4</c:v>
                </c:pt>
                <c:pt idx="5423">
                  <c:v>4</c:v>
                </c:pt>
                <c:pt idx="5424">
                  <c:v>1.5</c:v>
                </c:pt>
                <c:pt idx="5425">
                  <c:v>5</c:v>
                </c:pt>
                <c:pt idx="5426">
                  <c:v>11</c:v>
                </c:pt>
                <c:pt idx="5427">
                  <c:v>17</c:v>
                </c:pt>
                <c:pt idx="5428">
                  <c:v>12.5</c:v>
                </c:pt>
                <c:pt idx="5429">
                  <c:v>5</c:v>
                </c:pt>
                <c:pt idx="5430">
                  <c:v>3.5</c:v>
                </c:pt>
                <c:pt idx="5431">
                  <c:v>4</c:v>
                </c:pt>
                <c:pt idx="5432">
                  <c:v>3</c:v>
                </c:pt>
                <c:pt idx="5433">
                  <c:v>4</c:v>
                </c:pt>
                <c:pt idx="5434">
                  <c:v>6</c:v>
                </c:pt>
                <c:pt idx="5435">
                  <c:v>6</c:v>
                </c:pt>
                <c:pt idx="5436">
                  <c:v>4</c:v>
                </c:pt>
                <c:pt idx="5437">
                  <c:v>4.5</c:v>
                </c:pt>
                <c:pt idx="5438">
                  <c:v>3</c:v>
                </c:pt>
                <c:pt idx="5439">
                  <c:v>4</c:v>
                </c:pt>
                <c:pt idx="5440">
                  <c:v>6.5</c:v>
                </c:pt>
                <c:pt idx="5441">
                  <c:v>4</c:v>
                </c:pt>
                <c:pt idx="5442">
                  <c:v>7</c:v>
                </c:pt>
                <c:pt idx="5443">
                  <c:v>12</c:v>
                </c:pt>
                <c:pt idx="5444">
                  <c:v>11</c:v>
                </c:pt>
                <c:pt idx="5445">
                  <c:v>5.5</c:v>
                </c:pt>
                <c:pt idx="5446">
                  <c:v>2.5</c:v>
                </c:pt>
                <c:pt idx="5447">
                  <c:v>4</c:v>
                </c:pt>
                <c:pt idx="5448">
                  <c:v>5</c:v>
                </c:pt>
                <c:pt idx="5449">
                  <c:v>3.5</c:v>
                </c:pt>
                <c:pt idx="5450">
                  <c:v>1.5</c:v>
                </c:pt>
                <c:pt idx="5451">
                  <c:v>2</c:v>
                </c:pt>
                <c:pt idx="5452">
                  <c:v>3.5</c:v>
                </c:pt>
                <c:pt idx="5453">
                  <c:v>4</c:v>
                </c:pt>
                <c:pt idx="5454">
                  <c:v>3.5</c:v>
                </c:pt>
                <c:pt idx="5455">
                  <c:v>3</c:v>
                </c:pt>
                <c:pt idx="5456">
                  <c:v>2.5</c:v>
                </c:pt>
                <c:pt idx="5457">
                  <c:v>3.5</c:v>
                </c:pt>
                <c:pt idx="5458">
                  <c:v>3</c:v>
                </c:pt>
                <c:pt idx="5459">
                  <c:v>3.5</c:v>
                </c:pt>
                <c:pt idx="5460">
                  <c:v>3.5</c:v>
                </c:pt>
                <c:pt idx="5461">
                  <c:v>3.5</c:v>
                </c:pt>
                <c:pt idx="5462">
                  <c:v>5</c:v>
                </c:pt>
                <c:pt idx="5463">
                  <c:v>6</c:v>
                </c:pt>
                <c:pt idx="5464">
                  <c:v>7</c:v>
                </c:pt>
                <c:pt idx="5465">
                  <c:v>5</c:v>
                </c:pt>
                <c:pt idx="5466">
                  <c:v>2.5</c:v>
                </c:pt>
                <c:pt idx="5467">
                  <c:v>0.5</c:v>
                </c:pt>
                <c:pt idx="5468">
                  <c:v>2.5</c:v>
                </c:pt>
                <c:pt idx="5469">
                  <c:v>3</c:v>
                </c:pt>
                <c:pt idx="5470">
                  <c:v>2.5</c:v>
                </c:pt>
                <c:pt idx="5471">
                  <c:v>2</c:v>
                </c:pt>
                <c:pt idx="5472">
                  <c:v>2</c:v>
                </c:pt>
                <c:pt idx="5473">
                  <c:v>2.5</c:v>
                </c:pt>
                <c:pt idx="5474">
                  <c:v>3.5</c:v>
                </c:pt>
                <c:pt idx="5475">
                  <c:v>5</c:v>
                </c:pt>
                <c:pt idx="5476">
                  <c:v>6</c:v>
                </c:pt>
                <c:pt idx="5477">
                  <c:v>5.5</c:v>
                </c:pt>
                <c:pt idx="5478">
                  <c:v>4</c:v>
                </c:pt>
                <c:pt idx="5479">
                  <c:v>3.5</c:v>
                </c:pt>
                <c:pt idx="5480">
                  <c:v>3.5</c:v>
                </c:pt>
                <c:pt idx="5481">
                  <c:v>3.5</c:v>
                </c:pt>
                <c:pt idx="5482">
                  <c:v>4</c:v>
                </c:pt>
                <c:pt idx="5483">
                  <c:v>4</c:v>
                </c:pt>
                <c:pt idx="5484">
                  <c:v>6.5</c:v>
                </c:pt>
                <c:pt idx="5485">
                  <c:v>10.5</c:v>
                </c:pt>
                <c:pt idx="5486">
                  <c:v>9</c:v>
                </c:pt>
                <c:pt idx="5487">
                  <c:v>5.5</c:v>
                </c:pt>
                <c:pt idx="5488">
                  <c:v>5</c:v>
                </c:pt>
                <c:pt idx="5489">
                  <c:v>7.5</c:v>
                </c:pt>
                <c:pt idx="5490">
                  <c:v>8.5</c:v>
                </c:pt>
                <c:pt idx="5491">
                  <c:v>7</c:v>
                </c:pt>
                <c:pt idx="5492">
                  <c:v>3</c:v>
                </c:pt>
                <c:pt idx="5493">
                  <c:v>3.5</c:v>
                </c:pt>
                <c:pt idx="5494">
                  <c:v>6.5</c:v>
                </c:pt>
                <c:pt idx="5495">
                  <c:v>5.5</c:v>
                </c:pt>
                <c:pt idx="5496">
                  <c:v>3</c:v>
                </c:pt>
                <c:pt idx="5497">
                  <c:v>3.5</c:v>
                </c:pt>
                <c:pt idx="5498">
                  <c:v>4</c:v>
                </c:pt>
                <c:pt idx="5499">
                  <c:v>2.5</c:v>
                </c:pt>
                <c:pt idx="5500">
                  <c:v>3.5</c:v>
                </c:pt>
                <c:pt idx="5501">
                  <c:v>4.5</c:v>
                </c:pt>
                <c:pt idx="5502">
                  <c:v>3</c:v>
                </c:pt>
                <c:pt idx="5503">
                  <c:v>1</c:v>
                </c:pt>
                <c:pt idx="5504">
                  <c:v>1</c:v>
                </c:pt>
                <c:pt idx="5505">
                  <c:v>2</c:v>
                </c:pt>
                <c:pt idx="5506">
                  <c:v>2.5</c:v>
                </c:pt>
                <c:pt idx="5507">
                  <c:v>2.5</c:v>
                </c:pt>
                <c:pt idx="5508">
                  <c:v>4.5</c:v>
                </c:pt>
                <c:pt idx="5509">
                  <c:v>6</c:v>
                </c:pt>
                <c:pt idx="5510">
                  <c:v>5.5</c:v>
                </c:pt>
                <c:pt idx="5511">
                  <c:v>3.5</c:v>
                </c:pt>
                <c:pt idx="5512">
                  <c:v>3</c:v>
                </c:pt>
                <c:pt idx="5513">
                  <c:v>2</c:v>
                </c:pt>
                <c:pt idx="5514">
                  <c:v>10</c:v>
                </c:pt>
                <c:pt idx="5515">
                  <c:v>30.5</c:v>
                </c:pt>
                <c:pt idx="5516">
                  <c:v>44.5</c:v>
                </c:pt>
                <c:pt idx="5517">
                  <c:v>37</c:v>
                </c:pt>
                <c:pt idx="5518">
                  <c:v>16.5</c:v>
                </c:pt>
                <c:pt idx="5519">
                  <c:v>6</c:v>
                </c:pt>
                <c:pt idx="5520">
                  <c:v>1.5</c:v>
                </c:pt>
                <c:pt idx="5521">
                  <c:v>4</c:v>
                </c:pt>
                <c:pt idx="5522">
                  <c:v>6</c:v>
                </c:pt>
                <c:pt idx="5523">
                  <c:v>3.5</c:v>
                </c:pt>
                <c:pt idx="5524">
                  <c:v>1.5</c:v>
                </c:pt>
                <c:pt idx="5525">
                  <c:v>2.5</c:v>
                </c:pt>
                <c:pt idx="5526">
                  <c:v>3</c:v>
                </c:pt>
                <c:pt idx="5527">
                  <c:v>1</c:v>
                </c:pt>
                <c:pt idx="5528">
                  <c:v>4</c:v>
                </c:pt>
                <c:pt idx="5529">
                  <c:v>5.5</c:v>
                </c:pt>
                <c:pt idx="5530">
                  <c:v>4</c:v>
                </c:pt>
                <c:pt idx="5531">
                  <c:v>4.5</c:v>
                </c:pt>
                <c:pt idx="5532">
                  <c:v>6.5</c:v>
                </c:pt>
                <c:pt idx="5533">
                  <c:v>5.5</c:v>
                </c:pt>
                <c:pt idx="5534">
                  <c:v>4.5</c:v>
                </c:pt>
                <c:pt idx="5535">
                  <c:v>4</c:v>
                </c:pt>
                <c:pt idx="5536">
                  <c:v>2</c:v>
                </c:pt>
                <c:pt idx="5537">
                  <c:v>3</c:v>
                </c:pt>
                <c:pt idx="5538">
                  <c:v>4.5</c:v>
                </c:pt>
                <c:pt idx="5539">
                  <c:v>4</c:v>
                </c:pt>
                <c:pt idx="5540">
                  <c:v>4.5</c:v>
                </c:pt>
                <c:pt idx="5541">
                  <c:v>5</c:v>
                </c:pt>
                <c:pt idx="5542">
                  <c:v>6</c:v>
                </c:pt>
                <c:pt idx="5543">
                  <c:v>5</c:v>
                </c:pt>
                <c:pt idx="5544">
                  <c:v>3.5</c:v>
                </c:pt>
                <c:pt idx="5545">
                  <c:v>3</c:v>
                </c:pt>
                <c:pt idx="5546">
                  <c:v>3.5</c:v>
                </c:pt>
                <c:pt idx="5547">
                  <c:v>6</c:v>
                </c:pt>
                <c:pt idx="5548">
                  <c:v>10</c:v>
                </c:pt>
                <c:pt idx="5549">
                  <c:v>11.5</c:v>
                </c:pt>
                <c:pt idx="5550">
                  <c:v>10</c:v>
                </c:pt>
                <c:pt idx="5551">
                  <c:v>9</c:v>
                </c:pt>
                <c:pt idx="5552">
                  <c:v>8</c:v>
                </c:pt>
                <c:pt idx="5553">
                  <c:v>6</c:v>
                </c:pt>
                <c:pt idx="5554">
                  <c:v>3</c:v>
                </c:pt>
                <c:pt idx="5555">
                  <c:v>2.5</c:v>
                </c:pt>
                <c:pt idx="5556">
                  <c:v>2.5</c:v>
                </c:pt>
                <c:pt idx="5557">
                  <c:v>5.5</c:v>
                </c:pt>
                <c:pt idx="5558">
                  <c:v>6</c:v>
                </c:pt>
                <c:pt idx="5559">
                  <c:v>4.5</c:v>
                </c:pt>
                <c:pt idx="5560">
                  <c:v>2.5</c:v>
                </c:pt>
                <c:pt idx="5561">
                  <c:v>2</c:v>
                </c:pt>
                <c:pt idx="5562">
                  <c:v>1</c:v>
                </c:pt>
                <c:pt idx="5563">
                  <c:v>2.5</c:v>
                </c:pt>
                <c:pt idx="5564">
                  <c:v>4</c:v>
                </c:pt>
                <c:pt idx="5565">
                  <c:v>4</c:v>
                </c:pt>
                <c:pt idx="5566">
                  <c:v>7.5</c:v>
                </c:pt>
                <c:pt idx="5567">
                  <c:v>13.5</c:v>
                </c:pt>
                <c:pt idx="5568">
                  <c:v>14</c:v>
                </c:pt>
                <c:pt idx="5569">
                  <c:v>9</c:v>
                </c:pt>
                <c:pt idx="5570">
                  <c:v>4</c:v>
                </c:pt>
                <c:pt idx="5571">
                  <c:v>2.5</c:v>
                </c:pt>
                <c:pt idx="5572">
                  <c:v>3.5</c:v>
                </c:pt>
                <c:pt idx="5573">
                  <c:v>5.5</c:v>
                </c:pt>
                <c:pt idx="5574">
                  <c:v>5.5</c:v>
                </c:pt>
                <c:pt idx="5575">
                  <c:v>3.5</c:v>
                </c:pt>
                <c:pt idx="5576">
                  <c:v>5.5</c:v>
                </c:pt>
                <c:pt idx="5577">
                  <c:v>12</c:v>
                </c:pt>
                <c:pt idx="5578">
                  <c:v>16</c:v>
                </c:pt>
                <c:pt idx="5579">
                  <c:v>13</c:v>
                </c:pt>
                <c:pt idx="5580">
                  <c:v>9</c:v>
                </c:pt>
                <c:pt idx="5581">
                  <c:v>7</c:v>
                </c:pt>
                <c:pt idx="5582">
                  <c:v>5.5</c:v>
                </c:pt>
                <c:pt idx="5583">
                  <c:v>3.5</c:v>
                </c:pt>
                <c:pt idx="5584">
                  <c:v>0.5</c:v>
                </c:pt>
                <c:pt idx="5585">
                  <c:v>2.5</c:v>
                </c:pt>
                <c:pt idx="5586">
                  <c:v>3.5</c:v>
                </c:pt>
                <c:pt idx="5587">
                  <c:v>1.5</c:v>
                </c:pt>
                <c:pt idx="5588">
                  <c:v>4</c:v>
                </c:pt>
                <c:pt idx="5589">
                  <c:v>4.5</c:v>
                </c:pt>
                <c:pt idx="5590">
                  <c:v>4</c:v>
                </c:pt>
                <c:pt idx="5591">
                  <c:v>7</c:v>
                </c:pt>
                <c:pt idx="5592">
                  <c:v>8</c:v>
                </c:pt>
                <c:pt idx="5593">
                  <c:v>5.5</c:v>
                </c:pt>
                <c:pt idx="5594">
                  <c:v>4</c:v>
                </c:pt>
                <c:pt idx="5595">
                  <c:v>3.5</c:v>
                </c:pt>
                <c:pt idx="5596">
                  <c:v>2</c:v>
                </c:pt>
                <c:pt idx="5597">
                  <c:v>2</c:v>
                </c:pt>
                <c:pt idx="5598">
                  <c:v>1</c:v>
                </c:pt>
                <c:pt idx="5599">
                  <c:v>2</c:v>
                </c:pt>
                <c:pt idx="5600">
                  <c:v>3</c:v>
                </c:pt>
                <c:pt idx="5601">
                  <c:v>10.5</c:v>
                </c:pt>
                <c:pt idx="5602">
                  <c:v>28.5</c:v>
                </c:pt>
                <c:pt idx="5603">
                  <c:v>43</c:v>
                </c:pt>
                <c:pt idx="5604">
                  <c:v>37</c:v>
                </c:pt>
                <c:pt idx="5605">
                  <c:v>17</c:v>
                </c:pt>
                <c:pt idx="5606">
                  <c:v>3</c:v>
                </c:pt>
                <c:pt idx="5607">
                  <c:v>0.5</c:v>
                </c:pt>
                <c:pt idx="5608">
                  <c:v>3</c:v>
                </c:pt>
                <c:pt idx="5609">
                  <c:v>3</c:v>
                </c:pt>
                <c:pt idx="5610">
                  <c:v>2.5</c:v>
                </c:pt>
                <c:pt idx="5611">
                  <c:v>2.5</c:v>
                </c:pt>
                <c:pt idx="5612">
                  <c:v>3.5</c:v>
                </c:pt>
                <c:pt idx="5613">
                  <c:v>6</c:v>
                </c:pt>
                <c:pt idx="5614">
                  <c:v>5.5</c:v>
                </c:pt>
                <c:pt idx="5615">
                  <c:v>3</c:v>
                </c:pt>
                <c:pt idx="5616">
                  <c:v>4</c:v>
                </c:pt>
                <c:pt idx="5617">
                  <c:v>3.5</c:v>
                </c:pt>
                <c:pt idx="5618">
                  <c:v>3.5</c:v>
                </c:pt>
                <c:pt idx="5619">
                  <c:v>4</c:v>
                </c:pt>
                <c:pt idx="5620">
                  <c:v>3</c:v>
                </c:pt>
                <c:pt idx="5621">
                  <c:v>4</c:v>
                </c:pt>
                <c:pt idx="5622">
                  <c:v>5</c:v>
                </c:pt>
                <c:pt idx="5623">
                  <c:v>5</c:v>
                </c:pt>
                <c:pt idx="5624">
                  <c:v>12.5</c:v>
                </c:pt>
                <c:pt idx="5625">
                  <c:v>18.5</c:v>
                </c:pt>
                <c:pt idx="5626">
                  <c:v>24</c:v>
                </c:pt>
                <c:pt idx="5627">
                  <c:v>33.5</c:v>
                </c:pt>
                <c:pt idx="5628">
                  <c:v>36</c:v>
                </c:pt>
                <c:pt idx="5629">
                  <c:v>23</c:v>
                </c:pt>
                <c:pt idx="5630">
                  <c:v>6.5</c:v>
                </c:pt>
                <c:pt idx="5631">
                  <c:v>2.5</c:v>
                </c:pt>
                <c:pt idx="5632">
                  <c:v>1</c:v>
                </c:pt>
                <c:pt idx="5633">
                  <c:v>4</c:v>
                </c:pt>
                <c:pt idx="5634">
                  <c:v>5.5</c:v>
                </c:pt>
                <c:pt idx="5635">
                  <c:v>4.5</c:v>
                </c:pt>
                <c:pt idx="5636">
                  <c:v>1.5</c:v>
                </c:pt>
                <c:pt idx="5637">
                  <c:v>0</c:v>
                </c:pt>
                <c:pt idx="5638">
                  <c:v>2</c:v>
                </c:pt>
                <c:pt idx="5639">
                  <c:v>4</c:v>
                </c:pt>
                <c:pt idx="5640">
                  <c:v>3</c:v>
                </c:pt>
                <c:pt idx="5641">
                  <c:v>5</c:v>
                </c:pt>
                <c:pt idx="5642">
                  <c:v>4.5</c:v>
                </c:pt>
                <c:pt idx="5643">
                  <c:v>4.5</c:v>
                </c:pt>
                <c:pt idx="5644">
                  <c:v>23.5</c:v>
                </c:pt>
                <c:pt idx="5645">
                  <c:v>37</c:v>
                </c:pt>
                <c:pt idx="5646">
                  <c:v>30</c:v>
                </c:pt>
                <c:pt idx="5647">
                  <c:v>12.5</c:v>
                </c:pt>
                <c:pt idx="5648">
                  <c:v>4</c:v>
                </c:pt>
                <c:pt idx="5649">
                  <c:v>3</c:v>
                </c:pt>
                <c:pt idx="5650">
                  <c:v>4.5</c:v>
                </c:pt>
                <c:pt idx="5651">
                  <c:v>4</c:v>
                </c:pt>
                <c:pt idx="5652">
                  <c:v>2</c:v>
                </c:pt>
                <c:pt idx="5653">
                  <c:v>2</c:v>
                </c:pt>
                <c:pt idx="5654">
                  <c:v>1</c:v>
                </c:pt>
                <c:pt idx="5655">
                  <c:v>5</c:v>
                </c:pt>
                <c:pt idx="5656">
                  <c:v>7</c:v>
                </c:pt>
                <c:pt idx="5657">
                  <c:v>7</c:v>
                </c:pt>
                <c:pt idx="5658">
                  <c:v>4.5</c:v>
                </c:pt>
                <c:pt idx="5659">
                  <c:v>2.5</c:v>
                </c:pt>
                <c:pt idx="5660">
                  <c:v>2.5</c:v>
                </c:pt>
                <c:pt idx="5661">
                  <c:v>3</c:v>
                </c:pt>
                <c:pt idx="5662">
                  <c:v>5</c:v>
                </c:pt>
                <c:pt idx="5663">
                  <c:v>7</c:v>
                </c:pt>
                <c:pt idx="5664">
                  <c:v>7.5</c:v>
                </c:pt>
                <c:pt idx="5665">
                  <c:v>5.5</c:v>
                </c:pt>
                <c:pt idx="5666">
                  <c:v>3</c:v>
                </c:pt>
                <c:pt idx="5667">
                  <c:v>3.5</c:v>
                </c:pt>
                <c:pt idx="5668">
                  <c:v>3.5</c:v>
                </c:pt>
                <c:pt idx="5669">
                  <c:v>3</c:v>
                </c:pt>
                <c:pt idx="5670">
                  <c:v>3.5</c:v>
                </c:pt>
                <c:pt idx="5671">
                  <c:v>4.5</c:v>
                </c:pt>
                <c:pt idx="5672">
                  <c:v>4</c:v>
                </c:pt>
                <c:pt idx="5673">
                  <c:v>2</c:v>
                </c:pt>
                <c:pt idx="5674">
                  <c:v>1.5</c:v>
                </c:pt>
                <c:pt idx="5675">
                  <c:v>3</c:v>
                </c:pt>
                <c:pt idx="5676">
                  <c:v>4</c:v>
                </c:pt>
                <c:pt idx="5677">
                  <c:v>2</c:v>
                </c:pt>
                <c:pt idx="5678">
                  <c:v>1.5</c:v>
                </c:pt>
                <c:pt idx="5679">
                  <c:v>0.5</c:v>
                </c:pt>
                <c:pt idx="5680">
                  <c:v>1</c:v>
                </c:pt>
                <c:pt idx="5681">
                  <c:v>5</c:v>
                </c:pt>
                <c:pt idx="5682">
                  <c:v>17</c:v>
                </c:pt>
                <c:pt idx="5683">
                  <c:v>27</c:v>
                </c:pt>
                <c:pt idx="5684">
                  <c:v>23</c:v>
                </c:pt>
                <c:pt idx="5685">
                  <c:v>10.5</c:v>
                </c:pt>
                <c:pt idx="5686">
                  <c:v>2.5</c:v>
                </c:pt>
                <c:pt idx="5687">
                  <c:v>3</c:v>
                </c:pt>
                <c:pt idx="5688">
                  <c:v>2</c:v>
                </c:pt>
                <c:pt idx="5689">
                  <c:v>1.5</c:v>
                </c:pt>
                <c:pt idx="5690">
                  <c:v>5.5</c:v>
                </c:pt>
                <c:pt idx="5691">
                  <c:v>10.5</c:v>
                </c:pt>
                <c:pt idx="5692">
                  <c:v>11.5</c:v>
                </c:pt>
                <c:pt idx="5693">
                  <c:v>8</c:v>
                </c:pt>
                <c:pt idx="5694">
                  <c:v>6.5</c:v>
                </c:pt>
                <c:pt idx="5695">
                  <c:v>5.5</c:v>
                </c:pt>
                <c:pt idx="5696">
                  <c:v>3</c:v>
                </c:pt>
                <c:pt idx="5697">
                  <c:v>3.5</c:v>
                </c:pt>
                <c:pt idx="5698">
                  <c:v>4</c:v>
                </c:pt>
                <c:pt idx="5699">
                  <c:v>6</c:v>
                </c:pt>
                <c:pt idx="5700">
                  <c:v>4.5</c:v>
                </c:pt>
                <c:pt idx="5701">
                  <c:v>4</c:v>
                </c:pt>
                <c:pt idx="5702">
                  <c:v>3.5</c:v>
                </c:pt>
                <c:pt idx="5703">
                  <c:v>1</c:v>
                </c:pt>
                <c:pt idx="5704">
                  <c:v>3</c:v>
                </c:pt>
                <c:pt idx="5705">
                  <c:v>4.5</c:v>
                </c:pt>
                <c:pt idx="5706">
                  <c:v>3</c:v>
                </c:pt>
                <c:pt idx="5707">
                  <c:v>1</c:v>
                </c:pt>
                <c:pt idx="5708">
                  <c:v>1.5</c:v>
                </c:pt>
                <c:pt idx="5709">
                  <c:v>2.5</c:v>
                </c:pt>
                <c:pt idx="5710">
                  <c:v>2</c:v>
                </c:pt>
                <c:pt idx="5711">
                  <c:v>2.5</c:v>
                </c:pt>
                <c:pt idx="5712">
                  <c:v>3</c:v>
                </c:pt>
                <c:pt idx="5713">
                  <c:v>4.5</c:v>
                </c:pt>
                <c:pt idx="5714">
                  <c:v>7</c:v>
                </c:pt>
                <c:pt idx="5715">
                  <c:v>7.5</c:v>
                </c:pt>
                <c:pt idx="5716">
                  <c:v>5</c:v>
                </c:pt>
                <c:pt idx="5717">
                  <c:v>6</c:v>
                </c:pt>
                <c:pt idx="5718">
                  <c:v>8.5</c:v>
                </c:pt>
                <c:pt idx="5719">
                  <c:v>6</c:v>
                </c:pt>
                <c:pt idx="5720">
                  <c:v>5</c:v>
                </c:pt>
                <c:pt idx="5721">
                  <c:v>6</c:v>
                </c:pt>
                <c:pt idx="5722">
                  <c:v>8.5</c:v>
                </c:pt>
                <c:pt idx="5723">
                  <c:v>8</c:v>
                </c:pt>
                <c:pt idx="5724">
                  <c:v>8</c:v>
                </c:pt>
                <c:pt idx="5725">
                  <c:v>7.5</c:v>
                </c:pt>
                <c:pt idx="5726">
                  <c:v>5.5</c:v>
                </c:pt>
                <c:pt idx="5727">
                  <c:v>3.5</c:v>
                </c:pt>
                <c:pt idx="5728">
                  <c:v>4</c:v>
                </c:pt>
                <c:pt idx="5729">
                  <c:v>5.5</c:v>
                </c:pt>
                <c:pt idx="5730">
                  <c:v>4.5</c:v>
                </c:pt>
                <c:pt idx="5731">
                  <c:v>9</c:v>
                </c:pt>
                <c:pt idx="5732">
                  <c:v>4</c:v>
                </c:pt>
                <c:pt idx="5733">
                  <c:v>42</c:v>
                </c:pt>
                <c:pt idx="5734">
                  <c:v>137.5</c:v>
                </c:pt>
                <c:pt idx="5735">
                  <c:v>200.5</c:v>
                </c:pt>
                <c:pt idx="5736">
                  <c:v>156</c:v>
                </c:pt>
                <c:pt idx="5737">
                  <c:v>59</c:v>
                </c:pt>
                <c:pt idx="5738">
                  <c:v>7.5</c:v>
                </c:pt>
                <c:pt idx="5739">
                  <c:v>5.5</c:v>
                </c:pt>
                <c:pt idx="5740">
                  <c:v>21</c:v>
                </c:pt>
                <c:pt idx="5741">
                  <c:v>37.5</c:v>
                </c:pt>
                <c:pt idx="5742">
                  <c:v>33.5</c:v>
                </c:pt>
                <c:pt idx="5743">
                  <c:v>17</c:v>
                </c:pt>
                <c:pt idx="5744">
                  <c:v>1.5</c:v>
                </c:pt>
                <c:pt idx="5745">
                  <c:v>7.5</c:v>
                </c:pt>
                <c:pt idx="5746">
                  <c:v>9</c:v>
                </c:pt>
                <c:pt idx="5747">
                  <c:v>5.5</c:v>
                </c:pt>
                <c:pt idx="5748">
                  <c:v>3.5</c:v>
                </c:pt>
                <c:pt idx="5749">
                  <c:v>7.5</c:v>
                </c:pt>
                <c:pt idx="5750">
                  <c:v>9</c:v>
                </c:pt>
                <c:pt idx="5751">
                  <c:v>11.5</c:v>
                </c:pt>
                <c:pt idx="5752">
                  <c:v>14</c:v>
                </c:pt>
                <c:pt idx="5753">
                  <c:v>14.5</c:v>
                </c:pt>
                <c:pt idx="5754">
                  <c:v>10.5</c:v>
                </c:pt>
                <c:pt idx="5755">
                  <c:v>8</c:v>
                </c:pt>
                <c:pt idx="5756">
                  <c:v>7</c:v>
                </c:pt>
                <c:pt idx="5757">
                  <c:v>10.5</c:v>
                </c:pt>
                <c:pt idx="5758">
                  <c:v>21.5</c:v>
                </c:pt>
                <c:pt idx="5759">
                  <c:v>31.5</c:v>
                </c:pt>
                <c:pt idx="5760">
                  <c:v>26</c:v>
                </c:pt>
                <c:pt idx="5761">
                  <c:v>13</c:v>
                </c:pt>
                <c:pt idx="5762">
                  <c:v>6</c:v>
                </c:pt>
                <c:pt idx="5763">
                  <c:v>5</c:v>
                </c:pt>
                <c:pt idx="5764">
                  <c:v>2.5</c:v>
                </c:pt>
                <c:pt idx="5765">
                  <c:v>0.5</c:v>
                </c:pt>
                <c:pt idx="5766">
                  <c:v>3.5</c:v>
                </c:pt>
                <c:pt idx="5767">
                  <c:v>8.5</c:v>
                </c:pt>
                <c:pt idx="5768">
                  <c:v>10</c:v>
                </c:pt>
                <c:pt idx="5769">
                  <c:v>8</c:v>
                </c:pt>
                <c:pt idx="5770">
                  <c:v>6</c:v>
                </c:pt>
                <c:pt idx="5771">
                  <c:v>6</c:v>
                </c:pt>
                <c:pt idx="5772">
                  <c:v>5</c:v>
                </c:pt>
                <c:pt idx="5773">
                  <c:v>3</c:v>
                </c:pt>
                <c:pt idx="5774">
                  <c:v>3</c:v>
                </c:pt>
                <c:pt idx="5775">
                  <c:v>4.5</c:v>
                </c:pt>
                <c:pt idx="5776">
                  <c:v>4</c:v>
                </c:pt>
                <c:pt idx="5777">
                  <c:v>4.5</c:v>
                </c:pt>
                <c:pt idx="5778">
                  <c:v>3.5</c:v>
                </c:pt>
                <c:pt idx="5779">
                  <c:v>4</c:v>
                </c:pt>
                <c:pt idx="5780">
                  <c:v>2.5</c:v>
                </c:pt>
                <c:pt idx="5781">
                  <c:v>4.5</c:v>
                </c:pt>
                <c:pt idx="5782">
                  <c:v>6</c:v>
                </c:pt>
                <c:pt idx="5783">
                  <c:v>4.5</c:v>
                </c:pt>
                <c:pt idx="5784">
                  <c:v>3.5</c:v>
                </c:pt>
                <c:pt idx="5785">
                  <c:v>5</c:v>
                </c:pt>
                <c:pt idx="5786">
                  <c:v>3.5</c:v>
                </c:pt>
                <c:pt idx="5787">
                  <c:v>3.5</c:v>
                </c:pt>
                <c:pt idx="5788">
                  <c:v>6</c:v>
                </c:pt>
                <c:pt idx="5789">
                  <c:v>8</c:v>
                </c:pt>
                <c:pt idx="5790">
                  <c:v>6</c:v>
                </c:pt>
                <c:pt idx="5791">
                  <c:v>3</c:v>
                </c:pt>
                <c:pt idx="5792">
                  <c:v>1</c:v>
                </c:pt>
                <c:pt idx="5793">
                  <c:v>2</c:v>
                </c:pt>
                <c:pt idx="5794">
                  <c:v>3.5</c:v>
                </c:pt>
                <c:pt idx="5795">
                  <c:v>4</c:v>
                </c:pt>
                <c:pt idx="5796">
                  <c:v>2.5</c:v>
                </c:pt>
                <c:pt idx="5797">
                  <c:v>1</c:v>
                </c:pt>
                <c:pt idx="5798">
                  <c:v>1.5</c:v>
                </c:pt>
                <c:pt idx="5799">
                  <c:v>1</c:v>
                </c:pt>
                <c:pt idx="5800">
                  <c:v>0.5</c:v>
                </c:pt>
                <c:pt idx="5801">
                  <c:v>4</c:v>
                </c:pt>
                <c:pt idx="5802">
                  <c:v>7.5</c:v>
                </c:pt>
                <c:pt idx="5803">
                  <c:v>8</c:v>
                </c:pt>
                <c:pt idx="5804">
                  <c:v>6.5</c:v>
                </c:pt>
                <c:pt idx="5805">
                  <c:v>3</c:v>
                </c:pt>
                <c:pt idx="5806">
                  <c:v>2.5</c:v>
                </c:pt>
                <c:pt idx="5807">
                  <c:v>5</c:v>
                </c:pt>
                <c:pt idx="5808">
                  <c:v>7</c:v>
                </c:pt>
                <c:pt idx="5809">
                  <c:v>7.5</c:v>
                </c:pt>
                <c:pt idx="5810">
                  <c:v>8.5</c:v>
                </c:pt>
                <c:pt idx="5811">
                  <c:v>7.5</c:v>
                </c:pt>
                <c:pt idx="5812">
                  <c:v>7</c:v>
                </c:pt>
                <c:pt idx="5813">
                  <c:v>7</c:v>
                </c:pt>
                <c:pt idx="5814">
                  <c:v>7</c:v>
                </c:pt>
                <c:pt idx="5815">
                  <c:v>7.5</c:v>
                </c:pt>
                <c:pt idx="5816">
                  <c:v>8</c:v>
                </c:pt>
                <c:pt idx="5817">
                  <c:v>8.5</c:v>
                </c:pt>
                <c:pt idx="5818">
                  <c:v>8</c:v>
                </c:pt>
                <c:pt idx="5819">
                  <c:v>7</c:v>
                </c:pt>
                <c:pt idx="5820">
                  <c:v>6.5</c:v>
                </c:pt>
                <c:pt idx="5821">
                  <c:v>8</c:v>
                </c:pt>
                <c:pt idx="5822">
                  <c:v>10.5</c:v>
                </c:pt>
                <c:pt idx="5823">
                  <c:v>12</c:v>
                </c:pt>
                <c:pt idx="5824">
                  <c:v>10.5</c:v>
                </c:pt>
                <c:pt idx="5825">
                  <c:v>8.5</c:v>
                </c:pt>
                <c:pt idx="5826">
                  <c:v>8.5</c:v>
                </c:pt>
                <c:pt idx="5827">
                  <c:v>7</c:v>
                </c:pt>
                <c:pt idx="5828">
                  <c:v>6.5</c:v>
                </c:pt>
                <c:pt idx="5829">
                  <c:v>6</c:v>
                </c:pt>
                <c:pt idx="5830">
                  <c:v>7.5</c:v>
                </c:pt>
                <c:pt idx="5831">
                  <c:v>7.5</c:v>
                </c:pt>
                <c:pt idx="5832">
                  <c:v>6.5</c:v>
                </c:pt>
                <c:pt idx="5833">
                  <c:v>5</c:v>
                </c:pt>
                <c:pt idx="5834">
                  <c:v>5.5</c:v>
                </c:pt>
                <c:pt idx="5835">
                  <c:v>7</c:v>
                </c:pt>
                <c:pt idx="5836">
                  <c:v>7.5</c:v>
                </c:pt>
                <c:pt idx="5837">
                  <c:v>9.5</c:v>
                </c:pt>
                <c:pt idx="5838">
                  <c:v>8</c:v>
                </c:pt>
                <c:pt idx="5839">
                  <c:v>8.5</c:v>
                </c:pt>
                <c:pt idx="5840">
                  <c:v>11</c:v>
                </c:pt>
                <c:pt idx="5841">
                  <c:v>12</c:v>
                </c:pt>
                <c:pt idx="5842">
                  <c:v>6.5</c:v>
                </c:pt>
                <c:pt idx="5843">
                  <c:v>3.5</c:v>
                </c:pt>
                <c:pt idx="5844">
                  <c:v>3</c:v>
                </c:pt>
                <c:pt idx="5845">
                  <c:v>3</c:v>
                </c:pt>
                <c:pt idx="5846">
                  <c:v>5</c:v>
                </c:pt>
                <c:pt idx="5847">
                  <c:v>5</c:v>
                </c:pt>
                <c:pt idx="5848">
                  <c:v>5</c:v>
                </c:pt>
                <c:pt idx="5849">
                  <c:v>3</c:v>
                </c:pt>
                <c:pt idx="5850">
                  <c:v>2</c:v>
                </c:pt>
                <c:pt idx="5851">
                  <c:v>1</c:v>
                </c:pt>
                <c:pt idx="5852">
                  <c:v>3</c:v>
                </c:pt>
                <c:pt idx="5853">
                  <c:v>6</c:v>
                </c:pt>
                <c:pt idx="5854">
                  <c:v>11</c:v>
                </c:pt>
                <c:pt idx="5855">
                  <c:v>17</c:v>
                </c:pt>
                <c:pt idx="5856">
                  <c:v>17.5</c:v>
                </c:pt>
                <c:pt idx="5857">
                  <c:v>11</c:v>
                </c:pt>
                <c:pt idx="5858">
                  <c:v>4.5</c:v>
                </c:pt>
                <c:pt idx="5859">
                  <c:v>1.5</c:v>
                </c:pt>
                <c:pt idx="5860">
                  <c:v>2.5</c:v>
                </c:pt>
                <c:pt idx="5861">
                  <c:v>3</c:v>
                </c:pt>
                <c:pt idx="5862">
                  <c:v>3</c:v>
                </c:pt>
                <c:pt idx="5863">
                  <c:v>2.5</c:v>
                </c:pt>
                <c:pt idx="5864">
                  <c:v>1.5</c:v>
                </c:pt>
                <c:pt idx="5865">
                  <c:v>0.5</c:v>
                </c:pt>
                <c:pt idx="5866">
                  <c:v>1.5</c:v>
                </c:pt>
                <c:pt idx="5867">
                  <c:v>2.5</c:v>
                </c:pt>
                <c:pt idx="5868">
                  <c:v>3.5</c:v>
                </c:pt>
                <c:pt idx="5869">
                  <c:v>4</c:v>
                </c:pt>
                <c:pt idx="5870">
                  <c:v>5.5</c:v>
                </c:pt>
                <c:pt idx="5871">
                  <c:v>5</c:v>
                </c:pt>
                <c:pt idx="5872">
                  <c:v>3.5</c:v>
                </c:pt>
                <c:pt idx="5873">
                  <c:v>2.5</c:v>
                </c:pt>
                <c:pt idx="5874">
                  <c:v>3</c:v>
                </c:pt>
                <c:pt idx="5875">
                  <c:v>4</c:v>
                </c:pt>
                <c:pt idx="5876">
                  <c:v>2</c:v>
                </c:pt>
                <c:pt idx="5877">
                  <c:v>0</c:v>
                </c:pt>
                <c:pt idx="5878">
                  <c:v>0.5</c:v>
                </c:pt>
                <c:pt idx="5879">
                  <c:v>1</c:v>
                </c:pt>
                <c:pt idx="5880">
                  <c:v>4</c:v>
                </c:pt>
                <c:pt idx="5881">
                  <c:v>7.5</c:v>
                </c:pt>
                <c:pt idx="5882">
                  <c:v>7</c:v>
                </c:pt>
                <c:pt idx="5883">
                  <c:v>3.5</c:v>
                </c:pt>
                <c:pt idx="5884">
                  <c:v>2.5</c:v>
                </c:pt>
                <c:pt idx="5885">
                  <c:v>3</c:v>
                </c:pt>
                <c:pt idx="5886">
                  <c:v>2</c:v>
                </c:pt>
                <c:pt idx="5887">
                  <c:v>2</c:v>
                </c:pt>
                <c:pt idx="5888">
                  <c:v>2</c:v>
                </c:pt>
                <c:pt idx="5889">
                  <c:v>1.5</c:v>
                </c:pt>
                <c:pt idx="5890">
                  <c:v>1.5</c:v>
                </c:pt>
                <c:pt idx="5891">
                  <c:v>1</c:v>
                </c:pt>
                <c:pt idx="5892">
                  <c:v>1</c:v>
                </c:pt>
                <c:pt idx="5893">
                  <c:v>1.5</c:v>
                </c:pt>
                <c:pt idx="5894">
                  <c:v>2</c:v>
                </c:pt>
                <c:pt idx="5895">
                  <c:v>2.5</c:v>
                </c:pt>
                <c:pt idx="5896">
                  <c:v>2.5</c:v>
                </c:pt>
                <c:pt idx="5897">
                  <c:v>2.5</c:v>
                </c:pt>
                <c:pt idx="5898">
                  <c:v>1</c:v>
                </c:pt>
                <c:pt idx="5899">
                  <c:v>2.5</c:v>
                </c:pt>
                <c:pt idx="5900">
                  <c:v>5</c:v>
                </c:pt>
                <c:pt idx="5901">
                  <c:v>6</c:v>
                </c:pt>
                <c:pt idx="5902">
                  <c:v>15.5</c:v>
                </c:pt>
                <c:pt idx="5903">
                  <c:v>51</c:v>
                </c:pt>
                <c:pt idx="5904">
                  <c:v>81</c:v>
                </c:pt>
                <c:pt idx="5905">
                  <c:v>73.5</c:v>
                </c:pt>
                <c:pt idx="5906">
                  <c:v>36.5</c:v>
                </c:pt>
                <c:pt idx="5907">
                  <c:v>6</c:v>
                </c:pt>
                <c:pt idx="5908">
                  <c:v>4</c:v>
                </c:pt>
                <c:pt idx="5909">
                  <c:v>3</c:v>
                </c:pt>
                <c:pt idx="5910">
                  <c:v>3</c:v>
                </c:pt>
                <c:pt idx="5911">
                  <c:v>3.5</c:v>
                </c:pt>
                <c:pt idx="5912">
                  <c:v>1.5</c:v>
                </c:pt>
                <c:pt idx="5913">
                  <c:v>5.5</c:v>
                </c:pt>
                <c:pt idx="5914">
                  <c:v>5.5</c:v>
                </c:pt>
                <c:pt idx="5915">
                  <c:v>4</c:v>
                </c:pt>
                <c:pt idx="5916">
                  <c:v>3</c:v>
                </c:pt>
                <c:pt idx="5917">
                  <c:v>3</c:v>
                </c:pt>
                <c:pt idx="5918">
                  <c:v>2.5</c:v>
                </c:pt>
                <c:pt idx="5919">
                  <c:v>4</c:v>
                </c:pt>
                <c:pt idx="5920">
                  <c:v>8</c:v>
                </c:pt>
                <c:pt idx="5921">
                  <c:v>33.5</c:v>
                </c:pt>
                <c:pt idx="5922">
                  <c:v>60.5</c:v>
                </c:pt>
                <c:pt idx="5923">
                  <c:v>71</c:v>
                </c:pt>
                <c:pt idx="5924">
                  <c:v>55.5</c:v>
                </c:pt>
                <c:pt idx="5925">
                  <c:v>26.5</c:v>
                </c:pt>
                <c:pt idx="5926">
                  <c:v>15</c:v>
                </c:pt>
                <c:pt idx="5927">
                  <c:v>17.5</c:v>
                </c:pt>
                <c:pt idx="5928">
                  <c:v>13.5</c:v>
                </c:pt>
                <c:pt idx="5929">
                  <c:v>12.5</c:v>
                </c:pt>
                <c:pt idx="5930">
                  <c:v>22.5</c:v>
                </c:pt>
                <c:pt idx="5931">
                  <c:v>17</c:v>
                </c:pt>
                <c:pt idx="5932">
                  <c:v>65</c:v>
                </c:pt>
                <c:pt idx="5933">
                  <c:v>130.5</c:v>
                </c:pt>
                <c:pt idx="5934">
                  <c:v>156.5</c:v>
                </c:pt>
                <c:pt idx="5935">
                  <c:v>127</c:v>
                </c:pt>
                <c:pt idx="5936">
                  <c:v>69</c:v>
                </c:pt>
                <c:pt idx="5937">
                  <c:v>25.5</c:v>
                </c:pt>
                <c:pt idx="5938">
                  <c:v>13.5</c:v>
                </c:pt>
                <c:pt idx="5939">
                  <c:v>10</c:v>
                </c:pt>
                <c:pt idx="5940">
                  <c:v>8.5</c:v>
                </c:pt>
                <c:pt idx="5941">
                  <c:v>6.5</c:v>
                </c:pt>
                <c:pt idx="5942">
                  <c:v>6.5</c:v>
                </c:pt>
                <c:pt idx="5943">
                  <c:v>6</c:v>
                </c:pt>
                <c:pt idx="5944">
                  <c:v>5.5</c:v>
                </c:pt>
                <c:pt idx="5945">
                  <c:v>6.5</c:v>
                </c:pt>
                <c:pt idx="5946">
                  <c:v>5.5</c:v>
                </c:pt>
                <c:pt idx="5947">
                  <c:v>4</c:v>
                </c:pt>
                <c:pt idx="5948">
                  <c:v>3.5</c:v>
                </c:pt>
                <c:pt idx="5949">
                  <c:v>2.5</c:v>
                </c:pt>
                <c:pt idx="5950">
                  <c:v>2.5</c:v>
                </c:pt>
                <c:pt idx="5951">
                  <c:v>3</c:v>
                </c:pt>
                <c:pt idx="5952">
                  <c:v>3.5</c:v>
                </c:pt>
                <c:pt idx="5953">
                  <c:v>3.5</c:v>
                </c:pt>
                <c:pt idx="5954">
                  <c:v>3.5</c:v>
                </c:pt>
                <c:pt idx="5955">
                  <c:v>4</c:v>
                </c:pt>
                <c:pt idx="5956">
                  <c:v>4.5</c:v>
                </c:pt>
                <c:pt idx="5957">
                  <c:v>3.5</c:v>
                </c:pt>
                <c:pt idx="5958">
                  <c:v>2</c:v>
                </c:pt>
                <c:pt idx="5959">
                  <c:v>1</c:v>
                </c:pt>
                <c:pt idx="5960">
                  <c:v>0.5</c:v>
                </c:pt>
                <c:pt idx="5961">
                  <c:v>0.5</c:v>
                </c:pt>
                <c:pt idx="5962">
                  <c:v>1</c:v>
                </c:pt>
                <c:pt idx="5963">
                  <c:v>1.5</c:v>
                </c:pt>
                <c:pt idx="5964">
                  <c:v>2</c:v>
                </c:pt>
                <c:pt idx="5965">
                  <c:v>1.5</c:v>
                </c:pt>
                <c:pt idx="5966">
                  <c:v>1</c:v>
                </c:pt>
                <c:pt idx="5967">
                  <c:v>1.5</c:v>
                </c:pt>
                <c:pt idx="5968">
                  <c:v>1</c:v>
                </c:pt>
                <c:pt idx="5969">
                  <c:v>1</c:v>
                </c:pt>
                <c:pt idx="5970">
                  <c:v>1.5</c:v>
                </c:pt>
                <c:pt idx="5971">
                  <c:v>2</c:v>
                </c:pt>
                <c:pt idx="5972">
                  <c:v>2</c:v>
                </c:pt>
                <c:pt idx="5973">
                  <c:v>2</c:v>
                </c:pt>
                <c:pt idx="5974">
                  <c:v>3</c:v>
                </c:pt>
                <c:pt idx="5975">
                  <c:v>3.5</c:v>
                </c:pt>
                <c:pt idx="5976">
                  <c:v>3</c:v>
                </c:pt>
                <c:pt idx="5977">
                  <c:v>2.5</c:v>
                </c:pt>
                <c:pt idx="5978">
                  <c:v>1.5</c:v>
                </c:pt>
                <c:pt idx="5979">
                  <c:v>1</c:v>
                </c:pt>
                <c:pt idx="5980">
                  <c:v>1.5</c:v>
                </c:pt>
                <c:pt idx="5981">
                  <c:v>2</c:v>
                </c:pt>
                <c:pt idx="5982">
                  <c:v>1.5</c:v>
                </c:pt>
                <c:pt idx="5983">
                  <c:v>1</c:v>
                </c:pt>
                <c:pt idx="5984">
                  <c:v>1</c:v>
                </c:pt>
                <c:pt idx="5985">
                  <c:v>0.5</c:v>
                </c:pt>
                <c:pt idx="5986">
                  <c:v>1</c:v>
                </c:pt>
                <c:pt idx="5987">
                  <c:v>1</c:v>
                </c:pt>
                <c:pt idx="5988">
                  <c:v>1</c:v>
                </c:pt>
                <c:pt idx="5989">
                  <c:v>0.5</c:v>
                </c:pt>
                <c:pt idx="5990">
                  <c:v>1</c:v>
                </c:pt>
                <c:pt idx="5991">
                  <c:v>1.5</c:v>
                </c:pt>
                <c:pt idx="5992">
                  <c:v>1.5</c:v>
                </c:pt>
                <c:pt idx="5993">
                  <c:v>2</c:v>
                </c:pt>
                <c:pt idx="5994">
                  <c:v>2</c:v>
                </c:pt>
                <c:pt idx="5995">
                  <c:v>1.5</c:v>
                </c:pt>
                <c:pt idx="5996">
                  <c:v>1</c:v>
                </c:pt>
                <c:pt idx="5997">
                  <c:v>0.5</c:v>
                </c:pt>
                <c:pt idx="5998">
                  <c:v>0.5</c:v>
                </c:pt>
                <c:pt idx="5999">
                  <c:v>0.5</c:v>
                </c:pt>
                <c:pt idx="6000">
                  <c:v>0.5</c:v>
                </c:pt>
                <c:pt idx="6001">
                  <c:v>0.5</c:v>
                </c:pt>
                <c:pt idx="6002">
                  <c:v>0.5</c:v>
                </c:pt>
                <c:pt idx="6003">
                  <c:v>0.5</c:v>
                </c:pt>
                <c:pt idx="6004">
                  <c:v>0.5</c:v>
                </c:pt>
                <c:pt idx="6005">
                  <c:v>0.5</c:v>
                </c:pt>
                <c:pt idx="6006">
                  <c:v>0.5</c:v>
                </c:pt>
                <c:pt idx="6007">
                  <c:v>0.5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.5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7032640"/>
        <c:axId val="287033032"/>
      </c:lineChart>
      <c:catAx>
        <c:axId val="2870326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033032"/>
        <c:crosses val="autoZero"/>
        <c:auto val="1"/>
        <c:lblAlgn val="ctr"/>
        <c:lblOffset val="100"/>
        <c:noMultiLvlLbl val="0"/>
      </c:catAx>
      <c:valAx>
        <c:axId val="287033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032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Average of All Pings in file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HZX$1</c:f>
              <c:numCache>
                <c:formatCode>0.00</c:formatCode>
                <c:ptCount val="6108"/>
                <c:pt idx="0">
                  <c:v>71.066856330014204</c:v>
                </c:pt>
                <c:pt idx="1">
                  <c:v>71.253200568989996</c:v>
                </c:pt>
                <c:pt idx="2">
                  <c:v>69.823138928402003</c:v>
                </c:pt>
                <c:pt idx="3">
                  <c:v>69.2778568041726</c:v>
                </c:pt>
                <c:pt idx="4">
                  <c:v>69.385727833096198</c:v>
                </c:pt>
                <c:pt idx="5">
                  <c:v>69.168326220957695</c:v>
                </c:pt>
                <c:pt idx="6">
                  <c:v>68.889521100047403</c:v>
                </c:pt>
                <c:pt idx="7">
                  <c:v>68.454243717401596</c:v>
                </c:pt>
                <c:pt idx="8">
                  <c:v>68.047178757704998</c:v>
                </c:pt>
                <c:pt idx="9">
                  <c:v>68.1825509720246</c:v>
                </c:pt>
                <c:pt idx="10">
                  <c:v>68.298719772403899</c:v>
                </c:pt>
                <c:pt idx="11">
                  <c:v>68.801090564248398</c:v>
                </c:pt>
                <c:pt idx="12">
                  <c:v>69.786154575628203</c:v>
                </c:pt>
                <c:pt idx="13">
                  <c:v>70.214082503556099</c:v>
                </c:pt>
                <c:pt idx="14">
                  <c:v>69.654812707444194</c:v>
                </c:pt>
                <c:pt idx="15">
                  <c:v>69.045993361782806</c:v>
                </c:pt>
                <c:pt idx="16">
                  <c:v>68.698909435751503</c:v>
                </c:pt>
                <c:pt idx="17">
                  <c:v>69.199146514935904</c:v>
                </c:pt>
                <c:pt idx="18">
                  <c:v>69.703176861071498</c:v>
                </c:pt>
                <c:pt idx="19">
                  <c:v>69.130630630630606</c:v>
                </c:pt>
                <c:pt idx="20">
                  <c:v>68.094357515410096</c:v>
                </c:pt>
                <c:pt idx="21">
                  <c:v>68.150071123755296</c:v>
                </c:pt>
                <c:pt idx="22">
                  <c:v>67.628259838786093</c:v>
                </c:pt>
                <c:pt idx="23">
                  <c:v>69.142958748221901</c:v>
                </c:pt>
                <c:pt idx="24">
                  <c:v>70.731626363205294</c:v>
                </c:pt>
                <c:pt idx="25">
                  <c:v>70.591986723565597</c:v>
                </c:pt>
                <c:pt idx="26">
                  <c:v>69.610478899952497</c:v>
                </c:pt>
                <c:pt idx="27">
                  <c:v>69.501896633475496</c:v>
                </c:pt>
                <c:pt idx="28">
                  <c:v>70.273589378852506</c:v>
                </c:pt>
                <c:pt idx="29">
                  <c:v>70.111901375059205</c:v>
                </c:pt>
                <c:pt idx="30">
                  <c:v>70.378378378378301</c:v>
                </c:pt>
                <c:pt idx="31">
                  <c:v>69.858463726884693</c:v>
                </c:pt>
                <c:pt idx="32">
                  <c:v>69.244902797534294</c:v>
                </c:pt>
                <c:pt idx="33">
                  <c:v>69.029634898055903</c:v>
                </c:pt>
                <c:pt idx="34">
                  <c:v>69.025130393551393</c:v>
                </c:pt>
                <c:pt idx="35">
                  <c:v>69.277145566619197</c:v>
                </c:pt>
                <c:pt idx="36">
                  <c:v>70.758890469416698</c:v>
                </c:pt>
                <c:pt idx="37">
                  <c:v>72.439781887150303</c:v>
                </c:pt>
                <c:pt idx="38">
                  <c:v>72.135846372688405</c:v>
                </c:pt>
                <c:pt idx="39">
                  <c:v>71.743954480796504</c:v>
                </c:pt>
                <c:pt idx="40">
                  <c:v>71.745376955903197</c:v>
                </c:pt>
                <c:pt idx="41">
                  <c:v>71.219061166429498</c:v>
                </c:pt>
                <c:pt idx="42">
                  <c:v>70.339260312944504</c:v>
                </c:pt>
                <c:pt idx="43">
                  <c:v>69.504741583688897</c:v>
                </c:pt>
                <c:pt idx="44">
                  <c:v>70.068990042674201</c:v>
                </c:pt>
                <c:pt idx="45">
                  <c:v>70.683025130393503</c:v>
                </c:pt>
                <c:pt idx="46">
                  <c:v>69.742532005689796</c:v>
                </c:pt>
                <c:pt idx="47">
                  <c:v>69.291133238501601</c:v>
                </c:pt>
                <c:pt idx="48">
                  <c:v>69.080844001896594</c:v>
                </c:pt>
                <c:pt idx="49">
                  <c:v>69.278330962541403</c:v>
                </c:pt>
                <c:pt idx="50">
                  <c:v>69.693219535324801</c:v>
                </c:pt>
                <c:pt idx="51">
                  <c:v>69.146277856804105</c:v>
                </c:pt>
                <c:pt idx="52">
                  <c:v>67.640350877192901</c:v>
                </c:pt>
                <c:pt idx="53">
                  <c:v>67.076102418207597</c:v>
                </c:pt>
                <c:pt idx="54">
                  <c:v>67.893551446182997</c:v>
                </c:pt>
                <c:pt idx="55">
                  <c:v>69.349454717875702</c:v>
                </c:pt>
                <c:pt idx="56">
                  <c:v>69.837837837837796</c:v>
                </c:pt>
                <c:pt idx="57">
                  <c:v>70.0580844001896</c:v>
                </c:pt>
                <c:pt idx="58">
                  <c:v>72.241583688952105</c:v>
                </c:pt>
                <c:pt idx="59">
                  <c:v>73.824087245139793</c:v>
                </c:pt>
                <c:pt idx="60">
                  <c:v>72.435988620199097</c:v>
                </c:pt>
                <c:pt idx="61">
                  <c:v>71.636320531057294</c:v>
                </c:pt>
                <c:pt idx="62">
                  <c:v>73.358937885253596</c:v>
                </c:pt>
                <c:pt idx="63">
                  <c:v>73.133949739212795</c:v>
                </c:pt>
                <c:pt idx="64">
                  <c:v>70.669511616880001</c:v>
                </c:pt>
                <c:pt idx="65">
                  <c:v>69.316974869606398</c:v>
                </c:pt>
                <c:pt idx="66">
                  <c:v>70.829302987197707</c:v>
                </c:pt>
                <c:pt idx="67">
                  <c:v>72.646752015173007</c:v>
                </c:pt>
                <c:pt idx="68">
                  <c:v>72.540303461356004</c:v>
                </c:pt>
                <c:pt idx="69">
                  <c:v>71.9073020388809</c:v>
                </c:pt>
                <c:pt idx="70">
                  <c:v>71.463252726410602</c:v>
                </c:pt>
                <c:pt idx="71">
                  <c:v>71.303224276908395</c:v>
                </c:pt>
                <c:pt idx="72">
                  <c:v>71.677809388335703</c:v>
                </c:pt>
                <c:pt idx="73">
                  <c:v>72.5687529634897</c:v>
                </c:pt>
                <c:pt idx="74">
                  <c:v>72.819582740635298</c:v>
                </c:pt>
                <c:pt idx="75">
                  <c:v>72.275723091512504</c:v>
                </c:pt>
                <c:pt idx="76">
                  <c:v>70.817923186344203</c:v>
                </c:pt>
                <c:pt idx="77">
                  <c:v>70.649122807017505</c:v>
                </c:pt>
                <c:pt idx="78">
                  <c:v>71.998103366524404</c:v>
                </c:pt>
                <c:pt idx="79">
                  <c:v>71.858463726884693</c:v>
                </c:pt>
                <c:pt idx="80">
                  <c:v>71.062351825509694</c:v>
                </c:pt>
                <c:pt idx="81">
                  <c:v>71.762446657183503</c:v>
                </c:pt>
                <c:pt idx="82">
                  <c:v>73.229018492176294</c:v>
                </c:pt>
                <c:pt idx="83">
                  <c:v>74.263632053105695</c:v>
                </c:pt>
                <c:pt idx="84">
                  <c:v>73.903508771929793</c:v>
                </c:pt>
                <c:pt idx="85">
                  <c:v>73.177335229966801</c:v>
                </c:pt>
                <c:pt idx="86">
                  <c:v>73.357989568515805</c:v>
                </c:pt>
                <c:pt idx="87">
                  <c:v>73.7169274537695</c:v>
                </c:pt>
                <c:pt idx="88">
                  <c:v>73.459696538643897</c:v>
                </c:pt>
                <c:pt idx="89">
                  <c:v>73.327406353722097</c:v>
                </c:pt>
                <c:pt idx="90">
                  <c:v>73.606685633001405</c:v>
                </c:pt>
                <c:pt idx="91">
                  <c:v>74.148885727833004</c:v>
                </c:pt>
                <c:pt idx="92">
                  <c:v>74.949976292081502</c:v>
                </c:pt>
                <c:pt idx="93">
                  <c:v>75.826932195353194</c:v>
                </c:pt>
                <c:pt idx="94">
                  <c:v>75.714556661925002</c:v>
                </c:pt>
                <c:pt idx="95">
                  <c:v>75.238501659554203</c:v>
                </c:pt>
                <c:pt idx="96">
                  <c:v>76.697249881460394</c:v>
                </c:pt>
                <c:pt idx="97">
                  <c:v>77.960644855381702</c:v>
                </c:pt>
                <c:pt idx="98">
                  <c:v>78.013276434329001</c:v>
                </c:pt>
                <c:pt idx="99">
                  <c:v>78.376481744902804</c:v>
                </c:pt>
                <c:pt idx="100">
                  <c:v>78.981270744428599</c:v>
                </c:pt>
                <c:pt idx="101">
                  <c:v>77.722380275011801</c:v>
                </c:pt>
                <c:pt idx="102">
                  <c:v>76.034850640113802</c:v>
                </c:pt>
                <c:pt idx="103">
                  <c:v>75.654575628259806</c:v>
                </c:pt>
                <c:pt idx="104">
                  <c:v>75.495258416311003</c:v>
                </c:pt>
                <c:pt idx="105">
                  <c:v>74.737790422000899</c:v>
                </c:pt>
                <c:pt idx="106">
                  <c:v>74.319582740635298</c:v>
                </c:pt>
                <c:pt idx="107">
                  <c:v>73.684447605500196</c:v>
                </c:pt>
                <c:pt idx="108">
                  <c:v>73.933617828354599</c:v>
                </c:pt>
                <c:pt idx="109">
                  <c:v>75.430298719772395</c:v>
                </c:pt>
                <c:pt idx="110">
                  <c:v>76.423423423423401</c:v>
                </c:pt>
                <c:pt idx="111">
                  <c:v>75.440018966334705</c:v>
                </c:pt>
                <c:pt idx="112">
                  <c:v>74.927927927927897</c:v>
                </c:pt>
                <c:pt idx="113">
                  <c:v>74.802750118539507</c:v>
                </c:pt>
                <c:pt idx="114">
                  <c:v>75.825746799431002</c:v>
                </c:pt>
                <c:pt idx="115">
                  <c:v>76.2117117117117</c:v>
                </c:pt>
                <c:pt idx="116">
                  <c:v>76.9153627311522</c:v>
                </c:pt>
                <c:pt idx="117">
                  <c:v>78.114035087719301</c:v>
                </c:pt>
                <c:pt idx="118">
                  <c:v>77.249881460407707</c:v>
                </c:pt>
                <c:pt idx="119">
                  <c:v>75.688715030820205</c:v>
                </c:pt>
                <c:pt idx="120">
                  <c:v>75.661925082977703</c:v>
                </c:pt>
                <c:pt idx="121">
                  <c:v>76.364390706495897</c:v>
                </c:pt>
                <c:pt idx="122">
                  <c:v>77.924134660976705</c:v>
                </c:pt>
                <c:pt idx="123">
                  <c:v>78.113086770981496</c:v>
                </c:pt>
                <c:pt idx="124">
                  <c:v>77.2117117117117</c:v>
                </c:pt>
                <c:pt idx="125">
                  <c:v>76.962304409672797</c:v>
                </c:pt>
                <c:pt idx="126">
                  <c:v>78.478662873399699</c:v>
                </c:pt>
                <c:pt idx="127">
                  <c:v>80.011142721669003</c:v>
                </c:pt>
                <c:pt idx="128">
                  <c:v>80.699383594120405</c:v>
                </c:pt>
                <c:pt idx="129">
                  <c:v>81.140825035561804</c:v>
                </c:pt>
                <c:pt idx="130">
                  <c:v>81.3174490279753</c:v>
                </c:pt>
                <c:pt idx="131">
                  <c:v>80.706021811284899</c:v>
                </c:pt>
                <c:pt idx="132">
                  <c:v>79.922238027501095</c:v>
                </c:pt>
                <c:pt idx="133">
                  <c:v>78.054054054054006</c:v>
                </c:pt>
                <c:pt idx="134">
                  <c:v>77.793978188715002</c:v>
                </c:pt>
                <c:pt idx="135">
                  <c:v>78.868895211000407</c:v>
                </c:pt>
                <c:pt idx="136">
                  <c:v>80.000711237553304</c:v>
                </c:pt>
                <c:pt idx="137">
                  <c:v>80.792792792792696</c:v>
                </c:pt>
                <c:pt idx="138">
                  <c:v>81.705310573731595</c:v>
                </c:pt>
                <c:pt idx="139">
                  <c:v>81.0687529634897</c:v>
                </c:pt>
                <c:pt idx="140">
                  <c:v>79.893314366998496</c:v>
                </c:pt>
                <c:pt idx="141">
                  <c:v>79.799193930772802</c:v>
                </c:pt>
                <c:pt idx="142">
                  <c:v>79.088193456614505</c:v>
                </c:pt>
                <c:pt idx="143">
                  <c:v>79.154575628259806</c:v>
                </c:pt>
                <c:pt idx="144">
                  <c:v>79.346372688477899</c:v>
                </c:pt>
                <c:pt idx="145">
                  <c:v>78.9656235182551</c:v>
                </c:pt>
                <c:pt idx="146">
                  <c:v>78.679706021811199</c:v>
                </c:pt>
                <c:pt idx="147">
                  <c:v>78.842579421526693</c:v>
                </c:pt>
                <c:pt idx="148">
                  <c:v>79.422949265054498</c:v>
                </c:pt>
                <c:pt idx="149">
                  <c:v>80.031531531531499</c:v>
                </c:pt>
                <c:pt idx="150">
                  <c:v>80.932906590801295</c:v>
                </c:pt>
                <c:pt idx="151">
                  <c:v>81.669511616880001</c:v>
                </c:pt>
                <c:pt idx="152">
                  <c:v>82.5263157894736</c:v>
                </c:pt>
                <c:pt idx="153">
                  <c:v>82.7778568041726</c:v>
                </c:pt>
                <c:pt idx="154">
                  <c:v>83.504978662873299</c:v>
                </c:pt>
                <c:pt idx="155">
                  <c:v>84.4312470365102</c:v>
                </c:pt>
                <c:pt idx="156">
                  <c:v>85.167614983404405</c:v>
                </c:pt>
                <c:pt idx="157">
                  <c:v>85.695116168800297</c:v>
                </c:pt>
                <c:pt idx="158">
                  <c:v>84.392603129445206</c:v>
                </c:pt>
                <c:pt idx="159">
                  <c:v>81.964438122332794</c:v>
                </c:pt>
                <c:pt idx="160">
                  <c:v>81.578473210052096</c:v>
                </c:pt>
                <c:pt idx="161">
                  <c:v>82.901137980085295</c:v>
                </c:pt>
                <c:pt idx="162">
                  <c:v>83.330962541488802</c:v>
                </c:pt>
                <c:pt idx="163">
                  <c:v>83.902560455192003</c:v>
                </c:pt>
                <c:pt idx="164">
                  <c:v>84.144855381697397</c:v>
                </c:pt>
                <c:pt idx="165">
                  <c:v>84.569464201043104</c:v>
                </c:pt>
                <c:pt idx="166">
                  <c:v>83.572309151256505</c:v>
                </c:pt>
                <c:pt idx="167">
                  <c:v>82.567804646751995</c:v>
                </c:pt>
                <c:pt idx="168">
                  <c:v>83.944049312470298</c:v>
                </c:pt>
                <c:pt idx="169">
                  <c:v>84.831436699857704</c:v>
                </c:pt>
                <c:pt idx="170">
                  <c:v>84.464201043148407</c:v>
                </c:pt>
                <c:pt idx="171">
                  <c:v>84.004030346135593</c:v>
                </c:pt>
                <c:pt idx="172">
                  <c:v>83.546941678520596</c:v>
                </c:pt>
                <c:pt idx="173">
                  <c:v>83.116880037932603</c:v>
                </c:pt>
                <c:pt idx="174">
                  <c:v>83.563537221431901</c:v>
                </c:pt>
                <c:pt idx="175">
                  <c:v>85.794452347083904</c:v>
                </c:pt>
                <c:pt idx="176">
                  <c:v>87.856804172593598</c:v>
                </c:pt>
                <c:pt idx="177">
                  <c:v>86.8148411569464</c:v>
                </c:pt>
                <c:pt idx="178">
                  <c:v>84.649122807017505</c:v>
                </c:pt>
                <c:pt idx="179">
                  <c:v>83.809862494073002</c:v>
                </c:pt>
                <c:pt idx="180">
                  <c:v>84.100995732574603</c:v>
                </c:pt>
                <c:pt idx="181">
                  <c:v>85.319108582266395</c:v>
                </c:pt>
                <c:pt idx="182">
                  <c:v>85.099336178283494</c:v>
                </c:pt>
                <c:pt idx="183">
                  <c:v>84.809388335704099</c:v>
                </c:pt>
                <c:pt idx="184">
                  <c:v>83.401375059269697</c:v>
                </c:pt>
                <c:pt idx="185">
                  <c:v>82.021337126600201</c:v>
                </c:pt>
                <c:pt idx="186">
                  <c:v>82.211237553342798</c:v>
                </c:pt>
                <c:pt idx="187">
                  <c:v>82.065908013276399</c:v>
                </c:pt>
                <c:pt idx="188">
                  <c:v>81.851114272166896</c:v>
                </c:pt>
                <c:pt idx="189">
                  <c:v>83.084874348032201</c:v>
                </c:pt>
                <c:pt idx="190">
                  <c:v>82.907776197249802</c:v>
                </c:pt>
                <c:pt idx="191">
                  <c:v>81.319819819819799</c:v>
                </c:pt>
                <c:pt idx="192">
                  <c:v>82.077287814129903</c:v>
                </c:pt>
                <c:pt idx="193">
                  <c:v>83.343527738264498</c:v>
                </c:pt>
                <c:pt idx="194">
                  <c:v>82.905168326220902</c:v>
                </c:pt>
                <c:pt idx="195">
                  <c:v>83.113560929350299</c:v>
                </c:pt>
                <c:pt idx="196">
                  <c:v>83.3492176386913</c:v>
                </c:pt>
                <c:pt idx="197">
                  <c:v>83.031531531531499</c:v>
                </c:pt>
                <c:pt idx="198">
                  <c:v>82.272878141299103</c:v>
                </c:pt>
                <c:pt idx="199">
                  <c:v>82.635135135135101</c:v>
                </c:pt>
                <c:pt idx="200">
                  <c:v>81.250355618776595</c:v>
                </c:pt>
                <c:pt idx="201">
                  <c:v>79.936225699383499</c:v>
                </c:pt>
                <c:pt idx="202">
                  <c:v>80.017780938833496</c:v>
                </c:pt>
                <c:pt idx="203">
                  <c:v>81.020625889046897</c:v>
                </c:pt>
                <c:pt idx="204">
                  <c:v>81.885964912280599</c:v>
                </c:pt>
                <c:pt idx="205">
                  <c:v>82.255097202465606</c:v>
                </c:pt>
                <c:pt idx="206">
                  <c:v>82.672119487908901</c:v>
                </c:pt>
                <c:pt idx="207">
                  <c:v>82.152441915599795</c:v>
                </c:pt>
                <c:pt idx="208">
                  <c:v>81.254623044096704</c:v>
                </c:pt>
                <c:pt idx="209">
                  <c:v>80.810099573257403</c:v>
                </c:pt>
                <c:pt idx="210">
                  <c:v>81.667140825035503</c:v>
                </c:pt>
                <c:pt idx="211">
                  <c:v>81.162636320531007</c:v>
                </c:pt>
                <c:pt idx="212">
                  <c:v>80.528449502133697</c:v>
                </c:pt>
                <c:pt idx="213">
                  <c:v>80.337126600284407</c:v>
                </c:pt>
                <c:pt idx="214">
                  <c:v>80.392128971076303</c:v>
                </c:pt>
                <c:pt idx="215">
                  <c:v>80.228544333807406</c:v>
                </c:pt>
                <c:pt idx="216">
                  <c:v>78.885727833096198</c:v>
                </c:pt>
                <c:pt idx="217">
                  <c:v>79.172356567093402</c:v>
                </c:pt>
                <c:pt idx="218">
                  <c:v>80.775486012328102</c:v>
                </c:pt>
                <c:pt idx="219">
                  <c:v>80.716690374585099</c:v>
                </c:pt>
                <c:pt idx="220">
                  <c:v>80.948316737790407</c:v>
                </c:pt>
                <c:pt idx="221">
                  <c:v>81.176861071597898</c:v>
                </c:pt>
                <c:pt idx="222">
                  <c:v>80.481507823613001</c:v>
                </c:pt>
                <c:pt idx="223">
                  <c:v>80.804646752015103</c:v>
                </c:pt>
                <c:pt idx="224">
                  <c:v>82.350877192982395</c:v>
                </c:pt>
                <c:pt idx="225">
                  <c:v>82.691559981033606</c:v>
                </c:pt>
                <c:pt idx="226">
                  <c:v>81.921052631578902</c:v>
                </c:pt>
                <c:pt idx="227">
                  <c:v>81.301801801801801</c:v>
                </c:pt>
                <c:pt idx="228">
                  <c:v>81.564722617354093</c:v>
                </c:pt>
                <c:pt idx="229">
                  <c:v>81.653153153153099</c:v>
                </c:pt>
                <c:pt idx="230">
                  <c:v>82.522048364153605</c:v>
                </c:pt>
                <c:pt idx="231">
                  <c:v>81.669985775248904</c:v>
                </c:pt>
                <c:pt idx="232">
                  <c:v>81.502844950213301</c:v>
                </c:pt>
                <c:pt idx="233">
                  <c:v>82.393551446182997</c:v>
                </c:pt>
                <c:pt idx="234">
                  <c:v>82.317923186344203</c:v>
                </c:pt>
                <c:pt idx="235">
                  <c:v>80.842342342342306</c:v>
                </c:pt>
                <c:pt idx="236">
                  <c:v>78.758890469416698</c:v>
                </c:pt>
                <c:pt idx="237">
                  <c:v>78.215979137031695</c:v>
                </c:pt>
                <c:pt idx="238">
                  <c:v>78.879563774300607</c:v>
                </c:pt>
                <c:pt idx="239">
                  <c:v>79.823376007586504</c:v>
                </c:pt>
                <c:pt idx="240">
                  <c:v>80.388809862494</c:v>
                </c:pt>
                <c:pt idx="241">
                  <c:v>81.721906116642899</c:v>
                </c:pt>
                <c:pt idx="242">
                  <c:v>82.718349928876194</c:v>
                </c:pt>
                <c:pt idx="243">
                  <c:v>82.355855855855793</c:v>
                </c:pt>
                <c:pt idx="244">
                  <c:v>80.357278330962501</c:v>
                </c:pt>
                <c:pt idx="245">
                  <c:v>80.282124229492595</c:v>
                </c:pt>
                <c:pt idx="246">
                  <c:v>82.231152204836405</c:v>
                </c:pt>
                <c:pt idx="247">
                  <c:v>82.730915125651904</c:v>
                </c:pt>
                <c:pt idx="248">
                  <c:v>80.341631104789002</c:v>
                </c:pt>
                <c:pt idx="249">
                  <c:v>79.039118065433797</c:v>
                </c:pt>
                <c:pt idx="250">
                  <c:v>78.915836889521103</c:v>
                </c:pt>
                <c:pt idx="251">
                  <c:v>79.737316263631996</c:v>
                </c:pt>
                <c:pt idx="252">
                  <c:v>79.437174016121304</c:v>
                </c:pt>
                <c:pt idx="253">
                  <c:v>78.879089615931704</c:v>
                </c:pt>
                <c:pt idx="254">
                  <c:v>80.166429587482199</c:v>
                </c:pt>
                <c:pt idx="255">
                  <c:v>80.763869132290097</c:v>
                </c:pt>
                <c:pt idx="256">
                  <c:v>81.761024182076795</c:v>
                </c:pt>
                <c:pt idx="257">
                  <c:v>83.104077761972505</c:v>
                </c:pt>
                <c:pt idx="258">
                  <c:v>82.531057373162596</c:v>
                </c:pt>
                <c:pt idx="259">
                  <c:v>81.423423423423401</c:v>
                </c:pt>
                <c:pt idx="260">
                  <c:v>80.578710289236597</c:v>
                </c:pt>
                <c:pt idx="261">
                  <c:v>80.581792318634399</c:v>
                </c:pt>
                <c:pt idx="262">
                  <c:v>80.574679943100904</c:v>
                </c:pt>
                <c:pt idx="263">
                  <c:v>79.188715030820205</c:v>
                </c:pt>
                <c:pt idx="264">
                  <c:v>78.040777619724906</c:v>
                </c:pt>
                <c:pt idx="265">
                  <c:v>79.571834992887602</c:v>
                </c:pt>
                <c:pt idx="266">
                  <c:v>81.501659554291095</c:v>
                </c:pt>
                <c:pt idx="267">
                  <c:v>82.357989568515805</c:v>
                </c:pt>
                <c:pt idx="268">
                  <c:v>82.5606922712185</c:v>
                </c:pt>
                <c:pt idx="269">
                  <c:v>81.666903745851101</c:v>
                </c:pt>
                <c:pt idx="270">
                  <c:v>81.137980085348502</c:v>
                </c:pt>
                <c:pt idx="271">
                  <c:v>80.514935988620095</c:v>
                </c:pt>
                <c:pt idx="272">
                  <c:v>79.997155049786599</c:v>
                </c:pt>
                <c:pt idx="273">
                  <c:v>80.0554765291607</c:v>
                </c:pt>
                <c:pt idx="274">
                  <c:v>80.306306306306297</c:v>
                </c:pt>
                <c:pt idx="275">
                  <c:v>79.562825983878597</c:v>
                </c:pt>
                <c:pt idx="276">
                  <c:v>79.535087719298204</c:v>
                </c:pt>
                <c:pt idx="277">
                  <c:v>81.2117117117117</c:v>
                </c:pt>
                <c:pt idx="278">
                  <c:v>81.570175438596394</c:v>
                </c:pt>
                <c:pt idx="279">
                  <c:v>80.784969179705996</c:v>
                </c:pt>
                <c:pt idx="280">
                  <c:v>79.423660502607802</c:v>
                </c:pt>
                <c:pt idx="281">
                  <c:v>78.901375059269697</c:v>
                </c:pt>
                <c:pt idx="282">
                  <c:v>78.969416785206207</c:v>
                </c:pt>
                <c:pt idx="283">
                  <c:v>79.314604077761899</c:v>
                </c:pt>
                <c:pt idx="284">
                  <c:v>80.245614035087698</c:v>
                </c:pt>
                <c:pt idx="285">
                  <c:v>80.358937885253596</c:v>
                </c:pt>
                <c:pt idx="286">
                  <c:v>78.948079658605906</c:v>
                </c:pt>
                <c:pt idx="287">
                  <c:v>79.595542911332302</c:v>
                </c:pt>
                <c:pt idx="288">
                  <c:v>80.284257942152607</c:v>
                </c:pt>
                <c:pt idx="289">
                  <c:v>80.449265054528198</c:v>
                </c:pt>
                <c:pt idx="290">
                  <c:v>80.531294452346998</c:v>
                </c:pt>
                <c:pt idx="291">
                  <c:v>81.097676623992399</c:v>
                </c:pt>
                <c:pt idx="292">
                  <c:v>83.181128496917907</c:v>
                </c:pt>
                <c:pt idx="293">
                  <c:v>84.0713608345187</c:v>
                </c:pt>
                <c:pt idx="294">
                  <c:v>83.451635846372596</c:v>
                </c:pt>
                <c:pt idx="295">
                  <c:v>83.367472735893699</c:v>
                </c:pt>
                <c:pt idx="296">
                  <c:v>82.824087245139793</c:v>
                </c:pt>
                <c:pt idx="297">
                  <c:v>82.208155523944896</c:v>
                </c:pt>
                <c:pt idx="298">
                  <c:v>82.693930772878105</c:v>
                </c:pt>
                <c:pt idx="299">
                  <c:v>84.430298719772395</c:v>
                </c:pt>
                <c:pt idx="300">
                  <c:v>83.839971550497793</c:v>
                </c:pt>
                <c:pt idx="301">
                  <c:v>83.724276908487397</c:v>
                </c:pt>
                <c:pt idx="302">
                  <c:v>83.771929824561298</c:v>
                </c:pt>
                <c:pt idx="303">
                  <c:v>84.122095779990502</c:v>
                </c:pt>
                <c:pt idx="304">
                  <c:v>84.122095779990502</c:v>
                </c:pt>
                <c:pt idx="305">
                  <c:v>82.127548601232803</c:v>
                </c:pt>
                <c:pt idx="306">
                  <c:v>80.749407302038804</c:v>
                </c:pt>
                <c:pt idx="307">
                  <c:v>80.002133712659997</c:v>
                </c:pt>
                <c:pt idx="308">
                  <c:v>80.545045045045001</c:v>
                </c:pt>
                <c:pt idx="309">
                  <c:v>80.025841631104697</c:v>
                </c:pt>
                <c:pt idx="310">
                  <c:v>79.385490753911796</c:v>
                </c:pt>
                <c:pt idx="311">
                  <c:v>79.305832147937394</c:v>
                </c:pt>
                <c:pt idx="312">
                  <c:v>79.573257467994296</c:v>
                </c:pt>
                <c:pt idx="313">
                  <c:v>79.837363679468893</c:v>
                </c:pt>
                <c:pt idx="314">
                  <c:v>79.813181602655206</c:v>
                </c:pt>
                <c:pt idx="315">
                  <c:v>80.864627785680398</c:v>
                </c:pt>
                <c:pt idx="316">
                  <c:v>82.394025604551899</c:v>
                </c:pt>
                <c:pt idx="317">
                  <c:v>82.587008060692199</c:v>
                </c:pt>
                <c:pt idx="318">
                  <c:v>81.269321953532398</c:v>
                </c:pt>
                <c:pt idx="319">
                  <c:v>81.146752015173007</c:v>
                </c:pt>
                <c:pt idx="320">
                  <c:v>82.726410621147394</c:v>
                </c:pt>
                <c:pt idx="321">
                  <c:v>82.373873873873805</c:v>
                </c:pt>
                <c:pt idx="322">
                  <c:v>81.622095779990502</c:v>
                </c:pt>
                <c:pt idx="323">
                  <c:v>79.836178283546701</c:v>
                </c:pt>
                <c:pt idx="324">
                  <c:v>79.331910858226607</c:v>
                </c:pt>
                <c:pt idx="325">
                  <c:v>79.014461830251307</c:v>
                </c:pt>
                <c:pt idx="326">
                  <c:v>79.340919867235598</c:v>
                </c:pt>
                <c:pt idx="327">
                  <c:v>81.211000474158297</c:v>
                </c:pt>
                <c:pt idx="328">
                  <c:v>83.2036510194404</c:v>
                </c:pt>
                <c:pt idx="329">
                  <c:v>81.973684210526301</c:v>
                </c:pt>
                <c:pt idx="330">
                  <c:v>80.176149834044494</c:v>
                </c:pt>
                <c:pt idx="331">
                  <c:v>80.300142247510607</c:v>
                </c:pt>
                <c:pt idx="332">
                  <c:v>80.6453295400663</c:v>
                </c:pt>
                <c:pt idx="333">
                  <c:v>79.773352299668005</c:v>
                </c:pt>
                <c:pt idx="334">
                  <c:v>80.367946894262602</c:v>
                </c:pt>
                <c:pt idx="335">
                  <c:v>81.589378852536697</c:v>
                </c:pt>
                <c:pt idx="336">
                  <c:v>82.477714556661894</c:v>
                </c:pt>
                <c:pt idx="337">
                  <c:v>82.5263157894736</c:v>
                </c:pt>
                <c:pt idx="338">
                  <c:v>82.964675201517295</c:v>
                </c:pt>
                <c:pt idx="339">
                  <c:v>82.347558084400106</c:v>
                </c:pt>
                <c:pt idx="340">
                  <c:v>80.457088667614897</c:v>
                </c:pt>
                <c:pt idx="341">
                  <c:v>80.082977714556606</c:v>
                </c:pt>
                <c:pt idx="342">
                  <c:v>80.852773826458005</c:v>
                </c:pt>
                <c:pt idx="343">
                  <c:v>83.585585585585505</c:v>
                </c:pt>
                <c:pt idx="344">
                  <c:v>86.734471313418595</c:v>
                </c:pt>
                <c:pt idx="345">
                  <c:v>87.574442863916502</c:v>
                </c:pt>
                <c:pt idx="346">
                  <c:v>85.733285917496403</c:v>
                </c:pt>
                <c:pt idx="347">
                  <c:v>83.641536273115193</c:v>
                </c:pt>
                <c:pt idx="348">
                  <c:v>82.529160739687001</c:v>
                </c:pt>
                <c:pt idx="349">
                  <c:v>81.613323850165898</c:v>
                </c:pt>
                <c:pt idx="350">
                  <c:v>80.864153627311495</c:v>
                </c:pt>
                <c:pt idx="351">
                  <c:v>79.418918918918905</c:v>
                </c:pt>
                <c:pt idx="352">
                  <c:v>77.420341394025499</c:v>
                </c:pt>
                <c:pt idx="353">
                  <c:v>76.291133238501601</c:v>
                </c:pt>
                <c:pt idx="354">
                  <c:v>76.826932195353194</c:v>
                </c:pt>
                <c:pt idx="355">
                  <c:v>77.421526789947805</c:v>
                </c:pt>
                <c:pt idx="356">
                  <c:v>78.635372214319503</c:v>
                </c:pt>
                <c:pt idx="357">
                  <c:v>79.4919393077287</c:v>
                </c:pt>
                <c:pt idx="358">
                  <c:v>80.497155049786599</c:v>
                </c:pt>
                <c:pt idx="359">
                  <c:v>82.306069227121796</c:v>
                </c:pt>
                <c:pt idx="360">
                  <c:v>82.619724988146004</c:v>
                </c:pt>
                <c:pt idx="361">
                  <c:v>82.635135135135101</c:v>
                </c:pt>
                <c:pt idx="362">
                  <c:v>83.200806069227099</c:v>
                </c:pt>
                <c:pt idx="363">
                  <c:v>83.361782835466997</c:v>
                </c:pt>
                <c:pt idx="364">
                  <c:v>82.929113323850103</c:v>
                </c:pt>
                <c:pt idx="365">
                  <c:v>82.550497866287301</c:v>
                </c:pt>
                <c:pt idx="366">
                  <c:v>80.688240872451402</c:v>
                </c:pt>
                <c:pt idx="367">
                  <c:v>79.985538169748594</c:v>
                </c:pt>
                <c:pt idx="368">
                  <c:v>80.585585585585505</c:v>
                </c:pt>
                <c:pt idx="369">
                  <c:v>80.791133238501601</c:v>
                </c:pt>
                <c:pt idx="370">
                  <c:v>82.132764343290603</c:v>
                </c:pt>
                <c:pt idx="371">
                  <c:v>82.185870080606904</c:v>
                </c:pt>
                <c:pt idx="372">
                  <c:v>79.908724513987593</c:v>
                </c:pt>
                <c:pt idx="373">
                  <c:v>78.860597439544804</c:v>
                </c:pt>
                <c:pt idx="374">
                  <c:v>79.027264106211405</c:v>
                </c:pt>
                <c:pt idx="375">
                  <c:v>79.508534850640103</c:v>
                </c:pt>
                <c:pt idx="376">
                  <c:v>79.480085348506407</c:v>
                </c:pt>
                <c:pt idx="377">
                  <c:v>79.251541014698901</c:v>
                </c:pt>
                <c:pt idx="378">
                  <c:v>78.606448553816904</c:v>
                </c:pt>
                <c:pt idx="379">
                  <c:v>79.160028449502093</c:v>
                </c:pt>
                <c:pt idx="380">
                  <c:v>79.410858226647704</c:v>
                </c:pt>
                <c:pt idx="381">
                  <c:v>79.708155523944896</c:v>
                </c:pt>
                <c:pt idx="382">
                  <c:v>80.491465149359797</c:v>
                </c:pt>
                <c:pt idx="383">
                  <c:v>80.408250355618705</c:v>
                </c:pt>
                <c:pt idx="384">
                  <c:v>79.512565196775697</c:v>
                </c:pt>
                <c:pt idx="385">
                  <c:v>79.900900900900893</c:v>
                </c:pt>
                <c:pt idx="386">
                  <c:v>81.189189189189094</c:v>
                </c:pt>
                <c:pt idx="387">
                  <c:v>82.058795637743003</c:v>
                </c:pt>
                <c:pt idx="388">
                  <c:v>82.853010905642407</c:v>
                </c:pt>
                <c:pt idx="389">
                  <c:v>81.389758179231805</c:v>
                </c:pt>
                <c:pt idx="390">
                  <c:v>80.202465623518194</c:v>
                </c:pt>
                <c:pt idx="391">
                  <c:v>80.380749170222799</c:v>
                </c:pt>
                <c:pt idx="392">
                  <c:v>80.376955903271593</c:v>
                </c:pt>
                <c:pt idx="393">
                  <c:v>79.535798956851494</c:v>
                </c:pt>
                <c:pt idx="394">
                  <c:v>78.6851588430535</c:v>
                </c:pt>
                <c:pt idx="395">
                  <c:v>79.943575154101396</c:v>
                </c:pt>
                <c:pt idx="396">
                  <c:v>81.9338549075391</c:v>
                </c:pt>
                <c:pt idx="397">
                  <c:v>83.961830251303894</c:v>
                </c:pt>
                <c:pt idx="398">
                  <c:v>83.728307254623004</c:v>
                </c:pt>
                <c:pt idx="399">
                  <c:v>82.741820768136506</c:v>
                </c:pt>
                <c:pt idx="400">
                  <c:v>82.211000474158297</c:v>
                </c:pt>
                <c:pt idx="401">
                  <c:v>81.067330488383107</c:v>
                </c:pt>
                <c:pt idx="402">
                  <c:v>78.857515410146902</c:v>
                </c:pt>
                <c:pt idx="403">
                  <c:v>78.330251303935498</c:v>
                </c:pt>
                <c:pt idx="404">
                  <c:v>78.319108582266395</c:v>
                </c:pt>
                <c:pt idx="405">
                  <c:v>77.6455666192508</c:v>
                </c:pt>
                <c:pt idx="406">
                  <c:v>77.121147463252697</c:v>
                </c:pt>
                <c:pt idx="407">
                  <c:v>77.186818397344695</c:v>
                </c:pt>
                <c:pt idx="408">
                  <c:v>79.112849691796995</c:v>
                </c:pt>
                <c:pt idx="409">
                  <c:v>80.626126126126096</c:v>
                </c:pt>
                <c:pt idx="410">
                  <c:v>80.251066856329999</c:v>
                </c:pt>
                <c:pt idx="411">
                  <c:v>79.549312470364995</c:v>
                </c:pt>
                <c:pt idx="412">
                  <c:v>80.350165955429105</c:v>
                </c:pt>
                <c:pt idx="413">
                  <c:v>81.200094831673695</c:v>
                </c:pt>
                <c:pt idx="414">
                  <c:v>81.816974869606398</c:v>
                </c:pt>
                <c:pt idx="415">
                  <c:v>80.349928876244604</c:v>
                </c:pt>
                <c:pt idx="416">
                  <c:v>79.263157894736807</c:v>
                </c:pt>
                <c:pt idx="417">
                  <c:v>79.876718824087206</c:v>
                </c:pt>
                <c:pt idx="418">
                  <c:v>79.884305357989504</c:v>
                </c:pt>
                <c:pt idx="419">
                  <c:v>78.615220483641494</c:v>
                </c:pt>
                <c:pt idx="420">
                  <c:v>78.541488857278296</c:v>
                </c:pt>
                <c:pt idx="421">
                  <c:v>78.545519203413903</c:v>
                </c:pt>
                <c:pt idx="422">
                  <c:v>79.267662399241303</c:v>
                </c:pt>
                <c:pt idx="423">
                  <c:v>78.9231863442389</c:v>
                </c:pt>
                <c:pt idx="424">
                  <c:v>79.873162636320501</c:v>
                </c:pt>
                <c:pt idx="425">
                  <c:v>81.181365576102394</c:v>
                </c:pt>
                <c:pt idx="426">
                  <c:v>81.179706021811199</c:v>
                </c:pt>
                <c:pt idx="427">
                  <c:v>80.408250355618705</c:v>
                </c:pt>
                <c:pt idx="428">
                  <c:v>80.582977714556606</c:v>
                </c:pt>
                <c:pt idx="429">
                  <c:v>82.037932669511605</c:v>
                </c:pt>
                <c:pt idx="430">
                  <c:v>82.826932195353194</c:v>
                </c:pt>
                <c:pt idx="431">
                  <c:v>83.333807491702203</c:v>
                </c:pt>
                <c:pt idx="432">
                  <c:v>83.750829777145498</c:v>
                </c:pt>
                <c:pt idx="433">
                  <c:v>83.697012802275907</c:v>
                </c:pt>
                <c:pt idx="434">
                  <c:v>82.651493598862004</c:v>
                </c:pt>
                <c:pt idx="435">
                  <c:v>83.305357989568506</c:v>
                </c:pt>
                <c:pt idx="436">
                  <c:v>85.260787102892294</c:v>
                </c:pt>
                <c:pt idx="437">
                  <c:v>86.119487908961503</c:v>
                </c:pt>
                <c:pt idx="438">
                  <c:v>86.040777619724906</c:v>
                </c:pt>
                <c:pt idx="439">
                  <c:v>85.904457088667598</c:v>
                </c:pt>
                <c:pt idx="440">
                  <c:v>84.028923660502599</c:v>
                </c:pt>
                <c:pt idx="441">
                  <c:v>82.746799431009904</c:v>
                </c:pt>
                <c:pt idx="442">
                  <c:v>83.9734471313418</c:v>
                </c:pt>
                <c:pt idx="443">
                  <c:v>83.800853485063996</c:v>
                </c:pt>
                <c:pt idx="444">
                  <c:v>82.440018966334705</c:v>
                </c:pt>
                <c:pt idx="445">
                  <c:v>81.473210052157398</c:v>
                </c:pt>
                <c:pt idx="446">
                  <c:v>80.486249407301997</c:v>
                </c:pt>
                <c:pt idx="447">
                  <c:v>80.066856330014204</c:v>
                </c:pt>
                <c:pt idx="448">
                  <c:v>81.071597913703101</c:v>
                </c:pt>
                <c:pt idx="449">
                  <c:v>80.894736842105203</c:v>
                </c:pt>
                <c:pt idx="450">
                  <c:v>79.689426268373595</c:v>
                </c:pt>
                <c:pt idx="451">
                  <c:v>78.470602181128399</c:v>
                </c:pt>
                <c:pt idx="452">
                  <c:v>76.688477951635804</c:v>
                </c:pt>
                <c:pt idx="453">
                  <c:v>75.966334755808404</c:v>
                </c:pt>
                <c:pt idx="454">
                  <c:v>76.388098624940696</c:v>
                </c:pt>
                <c:pt idx="455">
                  <c:v>76.241109530583202</c:v>
                </c:pt>
                <c:pt idx="456">
                  <c:v>77.020388809862396</c:v>
                </c:pt>
                <c:pt idx="457">
                  <c:v>78.381460407776203</c:v>
                </c:pt>
                <c:pt idx="458">
                  <c:v>79.257230915125604</c:v>
                </c:pt>
                <c:pt idx="459">
                  <c:v>80.012802275960098</c:v>
                </c:pt>
                <c:pt idx="460">
                  <c:v>80.575628259838695</c:v>
                </c:pt>
                <c:pt idx="461">
                  <c:v>80.140587956377402</c:v>
                </c:pt>
                <c:pt idx="462">
                  <c:v>78.764106211474598</c:v>
                </c:pt>
                <c:pt idx="463">
                  <c:v>77.748933143669902</c:v>
                </c:pt>
                <c:pt idx="464">
                  <c:v>78.241583688952105</c:v>
                </c:pt>
                <c:pt idx="465">
                  <c:v>78.855618776671406</c:v>
                </c:pt>
                <c:pt idx="466">
                  <c:v>79.490042674253203</c:v>
                </c:pt>
                <c:pt idx="467">
                  <c:v>80.286628733997105</c:v>
                </c:pt>
                <c:pt idx="468">
                  <c:v>82.5528686581318</c:v>
                </c:pt>
                <c:pt idx="469">
                  <c:v>82.928639165481201</c:v>
                </c:pt>
                <c:pt idx="470">
                  <c:v>81.062114746325193</c:v>
                </c:pt>
                <c:pt idx="471">
                  <c:v>79.184684684684598</c:v>
                </c:pt>
                <c:pt idx="472">
                  <c:v>79.032479848269304</c:v>
                </c:pt>
                <c:pt idx="473">
                  <c:v>78.726410621147394</c:v>
                </c:pt>
                <c:pt idx="474">
                  <c:v>79.298719772403899</c:v>
                </c:pt>
                <c:pt idx="475">
                  <c:v>80.346846846846802</c:v>
                </c:pt>
                <c:pt idx="476">
                  <c:v>79.482930298719694</c:v>
                </c:pt>
                <c:pt idx="477">
                  <c:v>78.9549549549549</c:v>
                </c:pt>
                <c:pt idx="478">
                  <c:v>79.349454717875702</c:v>
                </c:pt>
                <c:pt idx="479">
                  <c:v>79.004741583688897</c:v>
                </c:pt>
                <c:pt idx="480">
                  <c:v>79.588193456614505</c:v>
                </c:pt>
                <c:pt idx="481">
                  <c:v>79.157420578473193</c:v>
                </c:pt>
                <c:pt idx="482">
                  <c:v>78.408013276434303</c:v>
                </c:pt>
                <c:pt idx="483">
                  <c:v>78.1851588430535</c:v>
                </c:pt>
                <c:pt idx="484">
                  <c:v>77.299668089141704</c:v>
                </c:pt>
                <c:pt idx="485">
                  <c:v>77.7882882882882</c:v>
                </c:pt>
                <c:pt idx="486">
                  <c:v>78.551446183025107</c:v>
                </c:pt>
                <c:pt idx="487">
                  <c:v>78.286391654812704</c:v>
                </c:pt>
                <c:pt idx="488">
                  <c:v>78.125177809388305</c:v>
                </c:pt>
                <c:pt idx="489">
                  <c:v>79.228781412991907</c:v>
                </c:pt>
                <c:pt idx="490">
                  <c:v>79.381460407776203</c:v>
                </c:pt>
                <c:pt idx="491">
                  <c:v>79.586296823138895</c:v>
                </c:pt>
                <c:pt idx="492">
                  <c:v>78.403745851114195</c:v>
                </c:pt>
                <c:pt idx="493">
                  <c:v>77.468705547652903</c:v>
                </c:pt>
                <c:pt idx="494">
                  <c:v>77.042674253200502</c:v>
                </c:pt>
                <c:pt idx="495">
                  <c:v>77.414177335229894</c:v>
                </c:pt>
                <c:pt idx="496">
                  <c:v>79.070649596965296</c:v>
                </c:pt>
                <c:pt idx="497">
                  <c:v>80.901612138454198</c:v>
                </c:pt>
                <c:pt idx="498">
                  <c:v>81.848980559506799</c:v>
                </c:pt>
                <c:pt idx="499">
                  <c:v>80.738264580369801</c:v>
                </c:pt>
                <c:pt idx="500">
                  <c:v>80.492176386913201</c:v>
                </c:pt>
                <c:pt idx="501">
                  <c:v>79.818397344713105</c:v>
                </c:pt>
                <c:pt idx="502">
                  <c:v>79.525841631104697</c:v>
                </c:pt>
                <c:pt idx="503">
                  <c:v>80.037221431958201</c:v>
                </c:pt>
                <c:pt idx="504">
                  <c:v>79.805120910384005</c:v>
                </c:pt>
                <c:pt idx="505">
                  <c:v>79.712185870080603</c:v>
                </c:pt>
                <c:pt idx="506">
                  <c:v>79.532954006638207</c:v>
                </c:pt>
                <c:pt idx="507">
                  <c:v>79.015647226173499</c:v>
                </c:pt>
                <c:pt idx="508">
                  <c:v>78.095779990516803</c:v>
                </c:pt>
                <c:pt idx="509">
                  <c:v>77.063300142247499</c:v>
                </c:pt>
                <c:pt idx="510">
                  <c:v>78.096254148885706</c:v>
                </c:pt>
                <c:pt idx="511">
                  <c:v>80.216453295400598</c:v>
                </c:pt>
                <c:pt idx="512">
                  <c:v>80.976529160739602</c:v>
                </c:pt>
                <c:pt idx="513">
                  <c:v>80.649122807017505</c:v>
                </c:pt>
                <c:pt idx="514">
                  <c:v>81.464438122332794</c:v>
                </c:pt>
                <c:pt idx="515">
                  <c:v>80.636320531057294</c:v>
                </c:pt>
                <c:pt idx="516">
                  <c:v>78.487197724039802</c:v>
                </c:pt>
                <c:pt idx="517">
                  <c:v>78.266714082503498</c:v>
                </c:pt>
                <c:pt idx="518">
                  <c:v>77.497155049786599</c:v>
                </c:pt>
                <c:pt idx="519">
                  <c:v>77.258416311047796</c:v>
                </c:pt>
                <c:pt idx="520">
                  <c:v>78.104551920341294</c:v>
                </c:pt>
                <c:pt idx="521">
                  <c:v>78.714082503556099</c:v>
                </c:pt>
                <c:pt idx="522">
                  <c:v>78.458985301090493</c:v>
                </c:pt>
                <c:pt idx="523">
                  <c:v>79.2724039829302</c:v>
                </c:pt>
                <c:pt idx="524">
                  <c:v>80.307491702228504</c:v>
                </c:pt>
                <c:pt idx="525">
                  <c:v>80.352773826458005</c:v>
                </c:pt>
                <c:pt idx="526">
                  <c:v>79.885253674727295</c:v>
                </c:pt>
                <c:pt idx="527">
                  <c:v>79.493835941204296</c:v>
                </c:pt>
                <c:pt idx="528">
                  <c:v>80.047415836889499</c:v>
                </c:pt>
                <c:pt idx="529">
                  <c:v>82.647226173541895</c:v>
                </c:pt>
                <c:pt idx="530">
                  <c:v>82.878852536747203</c:v>
                </c:pt>
                <c:pt idx="531">
                  <c:v>81.380275011853897</c:v>
                </c:pt>
                <c:pt idx="532">
                  <c:v>80.188003793266901</c:v>
                </c:pt>
                <c:pt idx="533">
                  <c:v>79.771929824561298</c:v>
                </c:pt>
                <c:pt idx="534">
                  <c:v>79.829540066382094</c:v>
                </c:pt>
                <c:pt idx="535">
                  <c:v>79.7275960170697</c:v>
                </c:pt>
                <c:pt idx="536">
                  <c:v>79.244428639165406</c:v>
                </c:pt>
                <c:pt idx="537">
                  <c:v>78.947842579421504</c:v>
                </c:pt>
                <c:pt idx="538">
                  <c:v>79.753437648174398</c:v>
                </c:pt>
                <c:pt idx="539">
                  <c:v>80.6216216216216</c:v>
                </c:pt>
                <c:pt idx="540">
                  <c:v>80.1903745851114</c:v>
                </c:pt>
                <c:pt idx="541">
                  <c:v>79.309862494073002</c:v>
                </c:pt>
                <c:pt idx="542">
                  <c:v>79.974869606448493</c:v>
                </c:pt>
                <c:pt idx="543">
                  <c:v>80.127785680417205</c:v>
                </c:pt>
                <c:pt idx="544">
                  <c:v>80.8148411569464</c:v>
                </c:pt>
                <c:pt idx="545">
                  <c:v>80.994310099573198</c:v>
                </c:pt>
                <c:pt idx="546">
                  <c:v>79.498814604077694</c:v>
                </c:pt>
                <c:pt idx="547">
                  <c:v>78.360360360360303</c:v>
                </c:pt>
                <c:pt idx="548">
                  <c:v>78.6507823613086</c:v>
                </c:pt>
                <c:pt idx="549">
                  <c:v>79.511379800853405</c:v>
                </c:pt>
                <c:pt idx="550">
                  <c:v>79.869843527738198</c:v>
                </c:pt>
                <c:pt idx="551">
                  <c:v>80.416073968705504</c:v>
                </c:pt>
                <c:pt idx="552">
                  <c:v>80.786865813181606</c:v>
                </c:pt>
                <c:pt idx="553">
                  <c:v>81.1666666666666</c:v>
                </c:pt>
                <c:pt idx="554">
                  <c:v>82.237079184447595</c:v>
                </c:pt>
                <c:pt idx="555">
                  <c:v>80.924134660976705</c:v>
                </c:pt>
                <c:pt idx="556">
                  <c:v>79.854907539118003</c:v>
                </c:pt>
                <c:pt idx="557">
                  <c:v>80.044570886676098</c:v>
                </c:pt>
                <c:pt idx="558">
                  <c:v>80.7460881934566</c:v>
                </c:pt>
                <c:pt idx="559">
                  <c:v>81.305832147937394</c:v>
                </c:pt>
                <c:pt idx="560">
                  <c:v>81.607871028923597</c:v>
                </c:pt>
                <c:pt idx="561">
                  <c:v>80.595305832147901</c:v>
                </c:pt>
                <c:pt idx="562">
                  <c:v>80.668800379326598</c:v>
                </c:pt>
                <c:pt idx="563">
                  <c:v>81.032716927453706</c:v>
                </c:pt>
                <c:pt idx="564">
                  <c:v>79.947605500237003</c:v>
                </c:pt>
                <c:pt idx="565">
                  <c:v>79.256756756756701</c:v>
                </c:pt>
                <c:pt idx="566">
                  <c:v>80.242294926505394</c:v>
                </c:pt>
                <c:pt idx="567">
                  <c:v>80.355618776671406</c:v>
                </c:pt>
                <c:pt idx="568">
                  <c:v>80.180180180180102</c:v>
                </c:pt>
                <c:pt idx="569">
                  <c:v>79.183973447131294</c:v>
                </c:pt>
                <c:pt idx="570">
                  <c:v>77.868421052631504</c:v>
                </c:pt>
                <c:pt idx="571">
                  <c:v>77.806306306306297</c:v>
                </c:pt>
                <c:pt idx="572">
                  <c:v>78.779042200094807</c:v>
                </c:pt>
                <c:pt idx="573">
                  <c:v>78.147700331910798</c:v>
                </c:pt>
                <c:pt idx="574">
                  <c:v>76.142010431484096</c:v>
                </c:pt>
                <c:pt idx="575">
                  <c:v>76.569701280227505</c:v>
                </c:pt>
                <c:pt idx="576">
                  <c:v>77.676386913228995</c:v>
                </c:pt>
                <c:pt idx="577">
                  <c:v>77.736605026078706</c:v>
                </c:pt>
                <c:pt idx="578">
                  <c:v>79.622332859174904</c:v>
                </c:pt>
                <c:pt idx="579">
                  <c:v>81.632527264106201</c:v>
                </c:pt>
                <c:pt idx="580">
                  <c:v>81.5343764817448</c:v>
                </c:pt>
                <c:pt idx="581">
                  <c:v>80.9231863442389</c:v>
                </c:pt>
                <c:pt idx="582">
                  <c:v>81.055713608345101</c:v>
                </c:pt>
                <c:pt idx="583">
                  <c:v>80.016832622095706</c:v>
                </c:pt>
                <c:pt idx="584">
                  <c:v>80.356330014224696</c:v>
                </c:pt>
                <c:pt idx="585">
                  <c:v>80.821953532479796</c:v>
                </c:pt>
                <c:pt idx="586">
                  <c:v>80.276908487434795</c:v>
                </c:pt>
                <c:pt idx="587">
                  <c:v>80.306306306306297</c:v>
                </c:pt>
                <c:pt idx="588">
                  <c:v>81.070886676149797</c:v>
                </c:pt>
                <c:pt idx="589">
                  <c:v>81.674253200568899</c:v>
                </c:pt>
                <c:pt idx="590">
                  <c:v>79.850877192982395</c:v>
                </c:pt>
                <c:pt idx="591">
                  <c:v>78.732337600758598</c:v>
                </c:pt>
                <c:pt idx="592">
                  <c:v>79.670934091986695</c:v>
                </c:pt>
                <c:pt idx="593">
                  <c:v>80.574917022285405</c:v>
                </c:pt>
                <c:pt idx="594">
                  <c:v>80.317923186344203</c:v>
                </c:pt>
                <c:pt idx="595">
                  <c:v>80.550023707918399</c:v>
                </c:pt>
                <c:pt idx="596">
                  <c:v>82.332859174964398</c:v>
                </c:pt>
                <c:pt idx="597">
                  <c:v>81.924608819345593</c:v>
                </c:pt>
                <c:pt idx="598">
                  <c:v>79.433380749170198</c:v>
                </c:pt>
                <c:pt idx="599">
                  <c:v>79.980796586059697</c:v>
                </c:pt>
                <c:pt idx="600">
                  <c:v>80.978425794215198</c:v>
                </c:pt>
                <c:pt idx="601">
                  <c:v>80.803461356092896</c:v>
                </c:pt>
                <c:pt idx="602">
                  <c:v>78.922238027501095</c:v>
                </c:pt>
                <c:pt idx="603">
                  <c:v>79.206495969653801</c:v>
                </c:pt>
                <c:pt idx="604">
                  <c:v>80.294926505452807</c:v>
                </c:pt>
                <c:pt idx="605">
                  <c:v>79.844713134186804</c:v>
                </c:pt>
                <c:pt idx="606">
                  <c:v>79.885727833096198</c:v>
                </c:pt>
                <c:pt idx="607">
                  <c:v>80.3148411569464</c:v>
                </c:pt>
                <c:pt idx="608">
                  <c:v>80.106211474632502</c:v>
                </c:pt>
                <c:pt idx="609">
                  <c:v>79.489094357515398</c:v>
                </c:pt>
                <c:pt idx="610">
                  <c:v>79.636083451872906</c:v>
                </c:pt>
                <c:pt idx="611">
                  <c:v>80.413940256045507</c:v>
                </c:pt>
                <c:pt idx="612">
                  <c:v>80.460881934566103</c:v>
                </c:pt>
                <c:pt idx="613">
                  <c:v>79.278093883357002</c:v>
                </c:pt>
                <c:pt idx="614">
                  <c:v>77.541251778093795</c:v>
                </c:pt>
                <c:pt idx="615">
                  <c:v>78.224988146040701</c:v>
                </c:pt>
                <c:pt idx="616">
                  <c:v>79.759127548601199</c:v>
                </c:pt>
                <c:pt idx="617">
                  <c:v>80.635609293504004</c:v>
                </c:pt>
                <c:pt idx="618">
                  <c:v>79.821242294926506</c:v>
                </c:pt>
                <c:pt idx="619">
                  <c:v>78.634423897581698</c:v>
                </c:pt>
                <c:pt idx="620">
                  <c:v>78.723091512565105</c:v>
                </c:pt>
                <c:pt idx="621">
                  <c:v>79.698672356567002</c:v>
                </c:pt>
                <c:pt idx="622">
                  <c:v>80.100047415836798</c:v>
                </c:pt>
                <c:pt idx="623">
                  <c:v>80.517780938833496</c:v>
                </c:pt>
                <c:pt idx="624">
                  <c:v>81.495021337126602</c:v>
                </c:pt>
                <c:pt idx="625">
                  <c:v>79.767425320056901</c:v>
                </c:pt>
                <c:pt idx="626">
                  <c:v>79.640587956377402</c:v>
                </c:pt>
                <c:pt idx="627">
                  <c:v>80.822427690848698</c:v>
                </c:pt>
                <c:pt idx="628">
                  <c:v>81.429113323850103</c:v>
                </c:pt>
                <c:pt idx="629">
                  <c:v>80.498814604077694</c:v>
                </c:pt>
                <c:pt idx="630">
                  <c:v>79.064011379800803</c:v>
                </c:pt>
                <c:pt idx="631">
                  <c:v>78.652916073968697</c:v>
                </c:pt>
                <c:pt idx="632">
                  <c:v>77.608108108108098</c:v>
                </c:pt>
                <c:pt idx="633">
                  <c:v>77.133475580844006</c:v>
                </c:pt>
                <c:pt idx="634">
                  <c:v>78.761498340445698</c:v>
                </c:pt>
                <c:pt idx="635">
                  <c:v>79.825035561877598</c:v>
                </c:pt>
                <c:pt idx="636">
                  <c:v>79.882645803698395</c:v>
                </c:pt>
                <c:pt idx="637">
                  <c:v>79.824561403508696</c:v>
                </c:pt>
                <c:pt idx="638">
                  <c:v>80.019677572309106</c:v>
                </c:pt>
                <c:pt idx="639">
                  <c:v>80.096254148885706</c:v>
                </c:pt>
                <c:pt idx="640">
                  <c:v>79.802987197723994</c:v>
                </c:pt>
                <c:pt idx="641">
                  <c:v>80.596017069701205</c:v>
                </c:pt>
                <c:pt idx="642">
                  <c:v>80.776671408250294</c:v>
                </c:pt>
                <c:pt idx="643">
                  <c:v>80.204362256993804</c:v>
                </c:pt>
                <c:pt idx="644">
                  <c:v>79.692034139402494</c:v>
                </c:pt>
                <c:pt idx="645">
                  <c:v>80.621384542437099</c:v>
                </c:pt>
                <c:pt idx="646">
                  <c:v>82.515410146988998</c:v>
                </c:pt>
                <c:pt idx="647">
                  <c:v>81.876718824087206</c:v>
                </c:pt>
                <c:pt idx="648">
                  <c:v>81.118776671408199</c:v>
                </c:pt>
                <c:pt idx="649">
                  <c:v>81.376481744902804</c:v>
                </c:pt>
                <c:pt idx="650">
                  <c:v>81.593409198672305</c:v>
                </c:pt>
                <c:pt idx="651">
                  <c:v>82.452584163110402</c:v>
                </c:pt>
                <c:pt idx="652">
                  <c:v>83.5422000948316</c:v>
                </c:pt>
                <c:pt idx="653">
                  <c:v>83.829302987197707</c:v>
                </c:pt>
                <c:pt idx="654">
                  <c:v>83.859649122806999</c:v>
                </c:pt>
                <c:pt idx="655">
                  <c:v>83.600995732574603</c:v>
                </c:pt>
                <c:pt idx="656">
                  <c:v>82.162399241346606</c:v>
                </c:pt>
                <c:pt idx="657">
                  <c:v>81.668089141773294</c:v>
                </c:pt>
                <c:pt idx="658">
                  <c:v>81.372451398767097</c:v>
                </c:pt>
                <c:pt idx="659">
                  <c:v>81.509009009009006</c:v>
                </c:pt>
                <c:pt idx="660">
                  <c:v>81.391891891891802</c:v>
                </c:pt>
                <c:pt idx="661">
                  <c:v>80.547178757704998</c:v>
                </c:pt>
                <c:pt idx="662">
                  <c:v>79.6877667140824</c:v>
                </c:pt>
                <c:pt idx="663">
                  <c:v>80.457799905168301</c:v>
                </c:pt>
                <c:pt idx="664">
                  <c:v>80.871977240398195</c:v>
                </c:pt>
                <c:pt idx="665">
                  <c:v>81.2697961119013</c:v>
                </c:pt>
                <c:pt idx="666">
                  <c:v>81.500711237553304</c:v>
                </c:pt>
                <c:pt idx="667">
                  <c:v>78.992650545282103</c:v>
                </c:pt>
                <c:pt idx="668">
                  <c:v>77.603603603603602</c:v>
                </c:pt>
                <c:pt idx="669">
                  <c:v>79.077287814129903</c:v>
                </c:pt>
                <c:pt idx="670">
                  <c:v>82.004978662873299</c:v>
                </c:pt>
                <c:pt idx="671">
                  <c:v>83.012328117591196</c:v>
                </c:pt>
                <c:pt idx="672">
                  <c:v>82.740872451398701</c:v>
                </c:pt>
                <c:pt idx="673">
                  <c:v>80.940493124703593</c:v>
                </c:pt>
                <c:pt idx="674">
                  <c:v>81.816500711237495</c:v>
                </c:pt>
                <c:pt idx="675">
                  <c:v>83.921289710763304</c:v>
                </c:pt>
                <c:pt idx="676">
                  <c:v>83.733760075865305</c:v>
                </c:pt>
                <c:pt idx="677">
                  <c:v>82.035798956851494</c:v>
                </c:pt>
                <c:pt idx="678">
                  <c:v>80.951635846372596</c:v>
                </c:pt>
                <c:pt idx="679">
                  <c:v>80.324087245139793</c:v>
                </c:pt>
                <c:pt idx="680">
                  <c:v>81.6455666192508</c:v>
                </c:pt>
                <c:pt idx="681">
                  <c:v>83.040540540540505</c:v>
                </c:pt>
                <c:pt idx="682">
                  <c:v>83.423660502607802</c:v>
                </c:pt>
                <c:pt idx="683">
                  <c:v>84.431009957325699</c:v>
                </c:pt>
                <c:pt idx="684">
                  <c:v>85.061166429587402</c:v>
                </c:pt>
                <c:pt idx="685">
                  <c:v>84.537695590327104</c:v>
                </c:pt>
                <c:pt idx="686">
                  <c:v>85.2989568515884</c:v>
                </c:pt>
                <c:pt idx="687">
                  <c:v>85.404931247036501</c:v>
                </c:pt>
                <c:pt idx="688">
                  <c:v>84.567567567567494</c:v>
                </c:pt>
                <c:pt idx="689">
                  <c:v>83.552157420578396</c:v>
                </c:pt>
                <c:pt idx="690">
                  <c:v>82.368658131816005</c:v>
                </c:pt>
                <c:pt idx="691">
                  <c:v>80.138928402086194</c:v>
                </c:pt>
                <c:pt idx="692">
                  <c:v>78.460881934566103</c:v>
                </c:pt>
                <c:pt idx="693">
                  <c:v>78.691559981033606</c:v>
                </c:pt>
                <c:pt idx="694">
                  <c:v>78.819345661450896</c:v>
                </c:pt>
                <c:pt idx="695">
                  <c:v>78.889758179231805</c:v>
                </c:pt>
                <c:pt idx="696">
                  <c:v>80.029871977240404</c:v>
                </c:pt>
                <c:pt idx="697">
                  <c:v>81.272641062114701</c:v>
                </c:pt>
                <c:pt idx="698">
                  <c:v>81.942152678994702</c:v>
                </c:pt>
                <c:pt idx="699">
                  <c:v>82.502844950213301</c:v>
                </c:pt>
                <c:pt idx="700">
                  <c:v>82.328117591275401</c:v>
                </c:pt>
                <c:pt idx="701">
                  <c:v>82.166192508297698</c:v>
                </c:pt>
                <c:pt idx="702">
                  <c:v>82.049075391180594</c:v>
                </c:pt>
                <c:pt idx="703">
                  <c:v>82.690137505926899</c:v>
                </c:pt>
                <c:pt idx="704">
                  <c:v>84.202228544333806</c:v>
                </c:pt>
                <c:pt idx="705">
                  <c:v>84.256282598387799</c:v>
                </c:pt>
                <c:pt idx="706">
                  <c:v>83.406827880511997</c:v>
                </c:pt>
                <c:pt idx="707">
                  <c:v>83.871028923660504</c:v>
                </c:pt>
                <c:pt idx="708">
                  <c:v>84.3333333333333</c:v>
                </c:pt>
                <c:pt idx="709">
                  <c:v>84.6322901849217</c:v>
                </c:pt>
                <c:pt idx="710">
                  <c:v>85.219772403982901</c:v>
                </c:pt>
                <c:pt idx="711">
                  <c:v>85.642958748221901</c:v>
                </c:pt>
                <c:pt idx="712">
                  <c:v>84.168089141773294</c:v>
                </c:pt>
                <c:pt idx="713">
                  <c:v>83.113086770981496</c:v>
                </c:pt>
                <c:pt idx="714">
                  <c:v>83.000474158368803</c:v>
                </c:pt>
                <c:pt idx="715">
                  <c:v>81.981744902797502</c:v>
                </c:pt>
                <c:pt idx="716">
                  <c:v>81.662162162162105</c:v>
                </c:pt>
                <c:pt idx="717">
                  <c:v>81.385253674727295</c:v>
                </c:pt>
                <c:pt idx="718">
                  <c:v>83.189900426742497</c:v>
                </c:pt>
                <c:pt idx="719">
                  <c:v>85.0554765291607</c:v>
                </c:pt>
                <c:pt idx="720">
                  <c:v>86.734708392603096</c:v>
                </c:pt>
                <c:pt idx="721">
                  <c:v>86.929587482219006</c:v>
                </c:pt>
                <c:pt idx="722">
                  <c:v>85.721194879089595</c:v>
                </c:pt>
                <c:pt idx="723">
                  <c:v>85.033428165007095</c:v>
                </c:pt>
                <c:pt idx="724">
                  <c:v>86.0898530109056</c:v>
                </c:pt>
                <c:pt idx="725">
                  <c:v>86.044333807491597</c:v>
                </c:pt>
                <c:pt idx="726">
                  <c:v>84.891180654338498</c:v>
                </c:pt>
                <c:pt idx="727">
                  <c:v>83.359649122806999</c:v>
                </c:pt>
                <c:pt idx="728">
                  <c:v>82.901612138454198</c:v>
                </c:pt>
                <c:pt idx="729">
                  <c:v>83.973684210526301</c:v>
                </c:pt>
                <c:pt idx="730">
                  <c:v>84.0078236130867</c:v>
                </c:pt>
                <c:pt idx="731">
                  <c:v>84.293504030346099</c:v>
                </c:pt>
                <c:pt idx="732">
                  <c:v>85.001422475106594</c:v>
                </c:pt>
                <c:pt idx="733">
                  <c:v>84.437648174490207</c:v>
                </c:pt>
                <c:pt idx="734">
                  <c:v>83.847558084400106</c:v>
                </c:pt>
                <c:pt idx="735">
                  <c:v>84.533665244191496</c:v>
                </c:pt>
                <c:pt idx="736">
                  <c:v>85.001422475106594</c:v>
                </c:pt>
                <c:pt idx="737">
                  <c:v>84.034850640113802</c:v>
                </c:pt>
                <c:pt idx="738">
                  <c:v>84.537221431958201</c:v>
                </c:pt>
                <c:pt idx="739">
                  <c:v>84.577999051683193</c:v>
                </c:pt>
                <c:pt idx="740">
                  <c:v>83.230915125651904</c:v>
                </c:pt>
                <c:pt idx="741">
                  <c:v>84.205073494547094</c:v>
                </c:pt>
                <c:pt idx="742">
                  <c:v>86.952584163110402</c:v>
                </c:pt>
                <c:pt idx="743">
                  <c:v>87.637980085348502</c:v>
                </c:pt>
                <c:pt idx="744">
                  <c:v>87.710052157420506</c:v>
                </c:pt>
                <c:pt idx="745">
                  <c:v>86.8862019914651</c:v>
                </c:pt>
                <c:pt idx="746">
                  <c:v>85.171645329539999</c:v>
                </c:pt>
                <c:pt idx="747">
                  <c:v>84.415599810336602</c:v>
                </c:pt>
                <c:pt idx="748">
                  <c:v>84.586770981507797</c:v>
                </c:pt>
                <c:pt idx="749">
                  <c:v>84.274774774774698</c:v>
                </c:pt>
                <c:pt idx="750">
                  <c:v>84.7143195827406</c:v>
                </c:pt>
                <c:pt idx="751">
                  <c:v>85.247036510194405</c:v>
                </c:pt>
                <c:pt idx="752">
                  <c:v>85.483878615457499</c:v>
                </c:pt>
                <c:pt idx="753">
                  <c:v>85.036273115220396</c:v>
                </c:pt>
                <c:pt idx="754">
                  <c:v>85.514698909435694</c:v>
                </c:pt>
                <c:pt idx="755">
                  <c:v>85.800853485063996</c:v>
                </c:pt>
                <c:pt idx="756">
                  <c:v>85.307491702228504</c:v>
                </c:pt>
                <c:pt idx="757">
                  <c:v>84.143907064959606</c:v>
                </c:pt>
                <c:pt idx="758">
                  <c:v>83.939307728781401</c:v>
                </c:pt>
                <c:pt idx="759">
                  <c:v>83.427453769558994</c:v>
                </c:pt>
                <c:pt idx="760">
                  <c:v>83.409198672356496</c:v>
                </c:pt>
                <c:pt idx="761">
                  <c:v>83.750829777145498</c:v>
                </c:pt>
                <c:pt idx="762">
                  <c:v>84.340208629682294</c:v>
                </c:pt>
                <c:pt idx="763">
                  <c:v>85.616168800379299</c:v>
                </c:pt>
                <c:pt idx="764">
                  <c:v>84.816263632053094</c:v>
                </c:pt>
                <c:pt idx="765">
                  <c:v>83.652204836415294</c:v>
                </c:pt>
                <c:pt idx="766">
                  <c:v>83.113086770981496</c:v>
                </c:pt>
                <c:pt idx="767">
                  <c:v>83.874585111427194</c:v>
                </c:pt>
                <c:pt idx="768">
                  <c:v>84.990990990990895</c:v>
                </c:pt>
                <c:pt idx="769">
                  <c:v>84.840682788051197</c:v>
                </c:pt>
                <c:pt idx="770">
                  <c:v>85.871503082029307</c:v>
                </c:pt>
                <c:pt idx="771">
                  <c:v>87.063300142247499</c:v>
                </c:pt>
                <c:pt idx="772">
                  <c:v>87.010194404931198</c:v>
                </c:pt>
                <c:pt idx="773">
                  <c:v>87.627311522048302</c:v>
                </c:pt>
                <c:pt idx="774">
                  <c:v>88.955666192508303</c:v>
                </c:pt>
                <c:pt idx="775">
                  <c:v>89.383831199620602</c:v>
                </c:pt>
                <c:pt idx="776">
                  <c:v>90.205310573731595</c:v>
                </c:pt>
                <c:pt idx="777">
                  <c:v>91.066856330014204</c:v>
                </c:pt>
                <c:pt idx="778">
                  <c:v>90.857041251778</c:v>
                </c:pt>
                <c:pt idx="779">
                  <c:v>91.819108582266395</c:v>
                </c:pt>
                <c:pt idx="780">
                  <c:v>91.884542437174005</c:v>
                </c:pt>
                <c:pt idx="781">
                  <c:v>91.409672830725398</c:v>
                </c:pt>
                <c:pt idx="782">
                  <c:v>92.505689900426702</c:v>
                </c:pt>
                <c:pt idx="783">
                  <c:v>93.098624940730204</c:v>
                </c:pt>
                <c:pt idx="784">
                  <c:v>93.891891891891802</c:v>
                </c:pt>
                <c:pt idx="785">
                  <c:v>93.635372214319503</c:v>
                </c:pt>
                <c:pt idx="786">
                  <c:v>93.239212897107606</c:v>
                </c:pt>
                <c:pt idx="787">
                  <c:v>92.515410146988998</c:v>
                </c:pt>
                <c:pt idx="788">
                  <c:v>92.128971076339397</c:v>
                </c:pt>
                <c:pt idx="789">
                  <c:v>92.723802750118494</c:v>
                </c:pt>
                <c:pt idx="790">
                  <c:v>94.163347558084297</c:v>
                </c:pt>
                <c:pt idx="791">
                  <c:v>94.440493124703593</c:v>
                </c:pt>
                <c:pt idx="792">
                  <c:v>92.876007586533902</c:v>
                </c:pt>
                <c:pt idx="793">
                  <c:v>91.526552868658101</c:v>
                </c:pt>
                <c:pt idx="794">
                  <c:v>90.671408250355597</c:v>
                </c:pt>
                <c:pt idx="795">
                  <c:v>90.830014224750997</c:v>
                </c:pt>
                <c:pt idx="796">
                  <c:v>90.152916073968697</c:v>
                </c:pt>
                <c:pt idx="797">
                  <c:v>89.136557610241795</c:v>
                </c:pt>
                <c:pt idx="798">
                  <c:v>90.459459459459396</c:v>
                </c:pt>
                <c:pt idx="799">
                  <c:v>91.310336652441904</c:v>
                </c:pt>
                <c:pt idx="800">
                  <c:v>90.497155049786599</c:v>
                </c:pt>
                <c:pt idx="801">
                  <c:v>89.2645803698435</c:v>
                </c:pt>
                <c:pt idx="802">
                  <c:v>89.308677098150696</c:v>
                </c:pt>
                <c:pt idx="803">
                  <c:v>90.088430535798906</c:v>
                </c:pt>
                <c:pt idx="804">
                  <c:v>90.480322427690794</c:v>
                </c:pt>
                <c:pt idx="805">
                  <c:v>89.643432906590803</c:v>
                </c:pt>
                <c:pt idx="806">
                  <c:v>89.188003793266901</c:v>
                </c:pt>
                <c:pt idx="807">
                  <c:v>90.428402086296799</c:v>
                </c:pt>
                <c:pt idx="808">
                  <c:v>90.554291133238493</c:v>
                </c:pt>
                <c:pt idx="809">
                  <c:v>89.449976292081502</c:v>
                </c:pt>
                <c:pt idx="810">
                  <c:v>89.534850640113802</c:v>
                </c:pt>
                <c:pt idx="811">
                  <c:v>89.551209103840606</c:v>
                </c:pt>
                <c:pt idx="812">
                  <c:v>91.329777145566595</c:v>
                </c:pt>
                <c:pt idx="813">
                  <c:v>91.155049786628695</c:v>
                </c:pt>
                <c:pt idx="814">
                  <c:v>89.770744428639105</c:v>
                </c:pt>
                <c:pt idx="815">
                  <c:v>89.951161688003694</c:v>
                </c:pt>
                <c:pt idx="816">
                  <c:v>90.874348032242693</c:v>
                </c:pt>
                <c:pt idx="817">
                  <c:v>91.671408250355597</c:v>
                </c:pt>
                <c:pt idx="818">
                  <c:v>91.8862019914651</c:v>
                </c:pt>
                <c:pt idx="819">
                  <c:v>90.587008060692199</c:v>
                </c:pt>
                <c:pt idx="820">
                  <c:v>89.111427216690302</c:v>
                </c:pt>
                <c:pt idx="821">
                  <c:v>89.5713608345187</c:v>
                </c:pt>
                <c:pt idx="822">
                  <c:v>89.965149359886098</c:v>
                </c:pt>
                <c:pt idx="823">
                  <c:v>89.759127548601199</c:v>
                </c:pt>
                <c:pt idx="824">
                  <c:v>89.267899478425704</c:v>
                </c:pt>
                <c:pt idx="825">
                  <c:v>89.4708392603129</c:v>
                </c:pt>
                <c:pt idx="826">
                  <c:v>89.813655761024094</c:v>
                </c:pt>
                <c:pt idx="827">
                  <c:v>90.152441915599795</c:v>
                </c:pt>
                <c:pt idx="828">
                  <c:v>90.303461356092896</c:v>
                </c:pt>
                <c:pt idx="829">
                  <c:v>91.851588430535699</c:v>
                </c:pt>
                <c:pt idx="830">
                  <c:v>92.600284495021299</c:v>
                </c:pt>
                <c:pt idx="831">
                  <c:v>93.482456140350806</c:v>
                </c:pt>
                <c:pt idx="832">
                  <c:v>93.964675201517295</c:v>
                </c:pt>
                <c:pt idx="833">
                  <c:v>94.334518729255507</c:v>
                </c:pt>
                <c:pt idx="834">
                  <c:v>93.554528212422895</c:v>
                </c:pt>
                <c:pt idx="835">
                  <c:v>92.889284020862902</c:v>
                </c:pt>
                <c:pt idx="836">
                  <c:v>92.424608819345593</c:v>
                </c:pt>
                <c:pt idx="837">
                  <c:v>92.673067804646706</c:v>
                </c:pt>
                <c:pt idx="838">
                  <c:v>91.912754860123201</c:v>
                </c:pt>
                <c:pt idx="839">
                  <c:v>90.858226647700306</c:v>
                </c:pt>
                <c:pt idx="840">
                  <c:v>89.458748221906106</c:v>
                </c:pt>
                <c:pt idx="841">
                  <c:v>89.560455192034098</c:v>
                </c:pt>
                <c:pt idx="842">
                  <c:v>90.874110953058306</c:v>
                </c:pt>
                <c:pt idx="843">
                  <c:v>90.935514461830195</c:v>
                </c:pt>
                <c:pt idx="844">
                  <c:v>89.190848743480302</c:v>
                </c:pt>
                <c:pt idx="845">
                  <c:v>89.0606922712185</c:v>
                </c:pt>
                <c:pt idx="846">
                  <c:v>89.606448553816904</c:v>
                </c:pt>
                <c:pt idx="847">
                  <c:v>89.451161688003694</c:v>
                </c:pt>
                <c:pt idx="848">
                  <c:v>89.612375533428093</c:v>
                </c:pt>
                <c:pt idx="849">
                  <c:v>91.403271692745307</c:v>
                </c:pt>
                <c:pt idx="850">
                  <c:v>92.236130867709804</c:v>
                </c:pt>
                <c:pt idx="851">
                  <c:v>91.917496443812198</c:v>
                </c:pt>
                <c:pt idx="852">
                  <c:v>92.352062588904701</c:v>
                </c:pt>
                <c:pt idx="853">
                  <c:v>93.476766239924103</c:v>
                </c:pt>
                <c:pt idx="854">
                  <c:v>93.117828354670394</c:v>
                </c:pt>
                <c:pt idx="855">
                  <c:v>93.1586059743954</c:v>
                </c:pt>
                <c:pt idx="856">
                  <c:v>94.187055476529096</c:v>
                </c:pt>
                <c:pt idx="857">
                  <c:v>95.316500711237495</c:v>
                </c:pt>
                <c:pt idx="858">
                  <c:v>97.120673304883795</c:v>
                </c:pt>
                <c:pt idx="859">
                  <c:v>95.409672830725398</c:v>
                </c:pt>
                <c:pt idx="860">
                  <c:v>92.879089615931704</c:v>
                </c:pt>
                <c:pt idx="861">
                  <c:v>92.332147937410994</c:v>
                </c:pt>
                <c:pt idx="862">
                  <c:v>93.919155998103307</c:v>
                </c:pt>
                <c:pt idx="863">
                  <c:v>94.422475106685596</c:v>
                </c:pt>
                <c:pt idx="864">
                  <c:v>94.3226647700331</c:v>
                </c:pt>
                <c:pt idx="865">
                  <c:v>93.820531057373103</c:v>
                </c:pt>
                <c:pt idx="866">
                  <c:v>93.752252252252205</c:v>
                </c:pt>
                <c:pt idx="867">
                  <c:v>94.022285443338006</c:v>
                </c:pt>
                <c:pt idx="868">
                  <c:v>93.170459933617806</c:v>
                </c:pt>
                <c:pt idx="869">
                  <c:v>92.972024656235106</c:v>
                </c:pt>
                <c:pt idx="870">
                  <c:v>94.082740635372204</c:v>
                </c:pt>
                <c:pt idx="871">
                  <c:v>95.662873399715494</c:v>
                </c:pt>
                <c:pt idx="872">
                  <c:v>96.558321479374101</c:v>
                </c:pt>
                <c:pt idx="873">
                  <c:v>97.225462304409604</c:v>
                </c:pt>
                <c:pt idx="874">
                  <c:v>96.657657657657595</c:v>
                </c:pt>
                <c:pt idx="875">
                  <c:v>95.225699383594105</c:v>
                </c:pt>
                <c:pt idx="876">
                  <c:v>94.954717875770498</c:v>
                </c:pt>
                <c:pt idx="877">
                  <c:v>96.858463726884693</c:v>
                </c:pt>
                <c:pt idx="878">
                  <c:v>96.2010431484115</c:v>
                </c:pt>
                <c:pt idx="879">
                  <c:v>95.670222854433305</c:v>
                </c:pt>
                <c:pt idx="880">
                  <c:v>97.562825983878597</c:v>
                </c:pt>
                <c:pt idx="881">
                  <c:v>96.896396396396298</c:v>
                </c:pt>
                <c:pt idx="882">
                  <c:v>95.704836415362706</c:v>
                </c:pt>
                <c:pt idx="883">
                  <c:v>95.898293029871894</c:v>
                </c:pt>
                <c:pt idx="884">
                  <c:v>95.477240398293006</c:v>
                </c:pt>
                <c:pt idx="885">
                  <c:v>94.967045993361694</c:v>
                </c:pt>
                <c:pt idx="886">
                  <c:v>95.868895211000407</c:v>
                </c:pt>
                <c:pt idx="887">
                  <c:v>96.576102418207597</c:v>
                </c:pt>
                <c:pt idx="888">
                  <c:v>97.011379800853405</c:v>
                </c:pt>
                <c:pt idx="889">
                  <c:v>98.104077761972505</c:v>
                </c:pt>
                <c:pt idx="890">
                  <c:v>100.39307728781399</c:v>
                </c:pt>
                <c:pt idx="891">
                  <c:v>103.346135609293</c:v>
                </c:pt>
                <c:pt idx="892">
                  <c:v>104.910146989094</c:v>
                </c:pt>
                <c:pt idx="893">
                  <c:v>103.529397818871</c:v>
                </c:pt>
                <c:pt idx="894">
                  <c:v>102.319819819819</c:v>
                </c:pt>
                <c:pt idx="895">
                  <c:v>102.37529634898</c:v>
                </c:pt>
                <c:pt idx="896">
                  <c:v>101.932906590801</c:v>
                </c:pt>
                <c:pt idx="897">
                  <c:v>100.390943575154</c:v>
                </c:pt>
                <c:pt idx="898">
                  <c:v>100.280464675201</c:v>
                </c:pt>
                <c:pt idx="899">
                  <c:v>102.784732100521</c:v>
                </c:pt>
                <c:pt idx="900">
                  <c:v>103.266714082503</c:v>
                </c:pt>
                <c:pt idx="901">
                  <c:v>100.838786154575</c:v>
                </c:pt>
                <c:pt idx="902">
                  <c:v>98.642010431484096</c:v>
                </c:pt>
                <c:pt idx="903">
                  <c:v>97.1533902323375</c:v>
                </c:pt>
                <c:pt idx="904">
                  <c:v>98.384542437174005</c:v>
                </c:pt>
                <c:pt idx="905">
                  <c:v>99.011379800853405</c:v>
                </c:pt>
                <c:pt idx="906">
                  <c:v>99.550734945471703</c:v>
                </c:pt>
                <c:pt idx="907">
                  <c:v>100.736605026078</c:v>
                </c:pt>
                <c:pt idx="908">
                  <c:v>101.951872925557</c:v>
                </c:pt>
                <c:pt idx="909">
                  <c:v>100.79729729729701</c:v>
                </c:pt>
                <c:pt idx="910">
                  <c:v>99.686581318160194</c:v>
                </c:pt>
                <c:pt idx="911">
                  <c:v>99.808677098150696</c:v>
                </c:pt>
                <c:pt idx="912">
                  <c:v>98.502844950213301</c:v>
                </c:pt>
                <c:pt idx="913">
                  <c:v>97.173067804646706</c:v>
                </c:pt>
                <c:pt idx="914">
                  <c:v>97.540777619724906</c:v>
                </c:pt>
                <c:pt idx="915">
                  <c:v>99.680417259364603</c:v>
                </c:pt>
                <c:pt idx="916">
                  <c:v>101.00877192982399</c:v>
                </c:pt>
                <c:pt idx="917">
                  <c:v>100.618302513039</c:v>
                </c:pt>
                <c:pt idx="918">
                  <c:v>101.091038406827</c:v>
                </c:pt>
                <c:pt idx="919">
                  <c:v>101.409909909909</c:v>
                </c:pt>
                <c:pt idx="920">
                  <c:v>100.67780938833501</c:v>
                </c:pt>
                <c:pt idx="921">
                  <c:v>100.033902323376</c:v>
                </c:pt>
                <c:pt idx="922">
                  <c:v>99.830962541488802</c:v>
                </c:pt>
                <c:pt idx="923">
                  <c:v>99.341631104789002</c:v>
                </c:pt>
                <c:pt idx="924">
                  <c:v>97.968942626837304</c:v>
                </c:pt>
                <c:pt idx="925">
                  <c:v>97.7195353247984</c:v>
                </c:pt>
                <c:pt idx="926">
                  <c:v>98.981033665244098</c:v>
                </c:pt>
                <c:pt idx="927">
                  <c:v>100.72569938359401</c:v>
                </c:pt>
                <c:pt idx="928">
                  <c:v>101.473210052157</c:v>
                </c:pt>
                <c:pt idx="929">
                  <c:v>102.134186818397</c:v>
                </c:pt>
                <c:pt idx="930">
                  <c:v>103.386676149834</c:v>
                </c:pt>
                <c:pt idx="931">
                  <c:v>104.552631578947</c:v>
                </c:pt>
                <c:pt idx="932">
                  <c:v>105.01185395922199</c:v>
                </c:pt>
                <c:pt idx="933">
                  <c:v>103.272641062114</c:v>
                </c:pt>
                <c:pt idx="934">
                  <c:v>101.475817923186</c:v>
                </c:pt>
                <c:pt idx="935">
                  <c:v>100.420104314841</c:v>
                </c:pt>
                <c:pt idx="936">
                  <c:v>99.2195353247984</c:v>
                </c:pt>
                <c:pt idx="937">
                  <c:v>98.555950687529602</c:v>
                </c:pt>
                <c:pt idx="938">
                  <c:v>99.229255571360795</c:v>
                </c:pt>
                <c:pt idx="939">
                  <c:v>101.430061640587</c:v>
                </c:pt>
                <c:pt idx="940">
                  <c:v>102.457088667614</c:v>
                </c:pt>
                <c:pt idx="941">
                  <c:v>100.906827880512</c:v>
                </c:pt>
                <c:pt idx="942">
                  <c:v>100.41109530583201</c:v>
                </c:pt>
                <c:pt idx="943">
                  <c:v>101.980559506875</c:v>
                </c:pt>
                <c:pt idx="944">
                  <c:v>102.659791370317</c:v>
                </c:pt>
                <c:pt idx="945">
                  <c:v>103.26481744902701</c:v>
                </c:pt>
                <c:pt idx="946">
                  <c:v>102.369369369369</c:v>
                </c:pt>
                <c:pt idx="947">
                  <c:v>100.949502133712</c:v>
                </c:pt>
                <c:pt idx="948">
                  <c:v>99.646514935988606</c:v>
                </c:pt>
                <c:pt idx="949">
                  <c:v>100.361071597913</c:v>
                </c:pt>
                <c:pt idx="950">
                  <c:v>101.657657657657</c:v>
                </c:pt>
                <c:pt idx="951">
                  <c:v>102.95092460881899</c:v>
                </c:pt>
                <c:pt idx="952">
                  <c:v>102.48838311996199</c:v>
                </c:pt>
                <c:pt idx="953">
                  <c:v>102.04694167852</c:v>
                </c:pt>
                <c:pt idx="954">
                  <c:v>103.428402086296</c:v>
                </c:pt>
                <c:pt idx="955">
                  <c:v>105.061166429587</c:v>
                </c:pt>
                <c:pt idx="956">
                  <c:v>105.12494073020299</c:v>
                </c:pt>
                <c:pt idx="957">
                  <c:v>102.963963963963</c:v>
                </c:pt>
                <c:pt idx="958">
                  <c:v>102.15481270744399</c:v>
                </c:pt>
                <c:pt idx="959">
                  <c:v>102.03413940256</c:v>
                </c:pt>
                <c:pt idx="960">
                  <c:v>101.521811284969</c:v>
                </c:pt>
                <c:pt idx="961">
                  <c:v>101.967757230915</c:v>
                </c:pt>
                <c:pt idx="962">
                  <c:v>100.602655286865</c:v>
                </c:pt>
                <c:pt idx="963">
                  <c:v>100.44547178757701</c:v>
                </c:pt>
                <c:pt idx="964">
                  <c:v>101.092935040303</c:v>
                </c:pt>
                <c:pt idx="965">
                  <c:v>101.75225225225201</c:v>
                </c:pt>
                <c:pt idx="966">
                  <c:v>102.38928402086199</c:v>
                </c:pt>
                <c:pt idx="967">
                  <c:v>102.391654812707</c:v>
                </c:pt>
                <c:pt idx="968">
                  <c:v>102.77880512090999</c:v>
                </c:pt>
                <c:pt idx="969">
                  <c:v>102.857278330962</c:v>
                </c:pt>
                <c:pt idx="970">
                  <c:v>101.798956851588</c:v>
                </c:pt>
                <c:pt idx="971">
                  <c:v>101.257942152678</c:v>
                </c:pt>
                <c:pt idx="972">
                  <c:v>102.524893314366</c:v>
                </c:pt>
                <c:pt idx="973">
                  <c:v>103.210763394973</c:v>
                </c:pt>
                <c:pt idx="974">
                  <c:v>102.914651493598</c:v>
                </c:pt>
                <c:pt idx="975">
                  <c:v>103.750592697961</c:v>
                </c:pt>
                <c:pt idx="976">
                  <c:v>103.246088193456</c:v>
                </c:pt>
                <c:pt idx="977">
                  <c:v>101.867472735893</c:v>
                </c:pt>
                <c:pt idx="978">
                  <c:v>101.320531057373</c:v>
                </c:pt>
                <c:pt idx="979">
                  <c:v>101.996443812233</c:v>
                </c:pt>
                <c:pt idx="980">
                  <c:v>103.414414414414</c:v>
                </c:pt>
                <c:pt idx="981">
                  <c:v>104.251778093883</c:v>
                </c:pt>
                <c:pt idx="982">
                  <c:v>103.42887624466501</c:v>
                </c:pt>
                <c:pt idx="983">
                  <c:v>101.880037932669</c:v>
                </c:pt>
                <c:pt idx="984">
                  <c:v>100.564959696538</c:v>
                </c:pt>
                <c:pt idx="985">
                  <c:v>100.50213371266</c:v>
                </c:pt>
                <c:pt idx="986">
                  <c:v>100.737316263632</c:v>
                </c:pt>
                <c:pt idx="987">
                  <c:v>102.232811759127</c:v>
                </c:pt>
                <c:pt idx="988">
                  <c:v>104.322427690848</c:v>
                </c:pt>
                <c:pt idx="989">
                  <c:v>103.84234234234199</c:v>
                </c:pt>
                <c:pt idx="990">
                  <c:v>102.758653390232</c:v>
                </c:pt>
                <c:pt idx="991">
                  <c:v>104.2057847321</c:v>
                </c:pt>
                <c:pt idx="992">
                  <c:v>104.49241346609701</c:v>
                </c:pt>
                <c:pt idx="993">
                  <c:v>102.44191559981</c:v>
                </c:pt>
                <c:pt idx="994">
                  <c:v>101.477477477477</c:v>
                </c:pt>
                <c:pt idx="995">
                  <c:v>101.34495021337101</c:v>
                </c:pt>
                <c:pt idx="996">
                  <c:v>101.552394499762</c:v>
                </c:pt>
                <c:pt idx="997">
                  <c:v>100.171171171171</c:v>
                </c:pt>
                <c:pt idx="998">
                  <c:v>98.5369843527738</c:v>
                </c:pt>
                <c:pt idx="999">
                  <c:v>100.232100521574</c:v>
                </c:pt>
                <c:pt idx="1000">
                  <c:v>102.046704599336</c:v>
                </c:pt>
                <c:pt idx="1001">
                  <c:v>103.04883831199599</c:v>
                </c:pt>
                <c:pt idx="1002">
                  <c:v>104.64082503556099</c:v>
                </c:pt>
                <c:pt idx="1003">
                  <c:v>106.473684210526</c:v>
                </c:pt>
                <c:pt idx="1004">
                  <c:v>106.293978188715</c:v>
                </c:pt>
                <c:pt idx="1005">
                  <c:v>105.402560455192</c:v>
                </c:pt>
                <c:pt idx="1006">
                  <c:v>104.052868658131</c:v>
                </c:pt>
                <c:pt idx="1007">
                  <c:v>104.983404457088</c:v>
                </c:pt>
                <c:pt idx="1008">
                  <c:v>107.21005215741999</c:v>
                </c:pt>
                <c:pt idx="1009">
                  <c:v>106.990042674253</c:v>
                </c:pt>
                <c:pt idx="1010">
                  <c:v>106.440493124703</c:v>
                </c:pt>
                <c:pt idx="1011">
                  <c:v>106.030583214793</c:v>
                </c:pt>
                <c:pt idx="1012">
                  <c:v>106.46372688477901</c:v>
                </c:pt>
                <c:pt idx="1013">
                  <c:v>105.007823613086</c:v>
                </c:pt>
                <c:pt idx="1014">
                  <c:v>104.909435751541</c:v>
                </c:pt>
                <c:pt idx="1015">
                  <c:v>105.60075865339</c:v>
                </c:pt>
                <c:pt idx="1016">
                  <c:v>105.005215742057</c:v>
                </c:pt>
                <c:pt idx="1017">
                  <c:v>103.832622095779</c:v>
                </c:pt>
                <c:pt idx="1018">
                  <c:v>104.705547652916</c:v>
                </c:pt>
                <c:pt idx="1019">
                  <c:v>107.118539592223</c:v>
                </c:pt>
                <c:pt idx="1020">
                  <c:v>108.210763394973</c:v>
                </c:pt>
                <c:pt idx="1021">
                  <c:v>106.622807017543</c:v>
                </c:pt>
                <c:pt idx="1022">
                  <c:v>105.955666192508</c:v>
                </c:pt>
                <c:pt idx="1023">
                  <c:v>108.12825983878599</c:v>
                </c:pt>
                <c:pt idx="1024">
                  <c:v>108.819108582266</c:v>
                </c:pt>
                <c:pt idx="1025">
                  <c:v>107.47700331910799</c:v>
                </c:pt>
                <c:pt idx="1026">
                  <c:v>107.625414888572</c:v>
                </c:pt>
                <c:pt idx="1027">
                  <c:v>109.378141299193</c:v>
                </c:pt>
                <c:pt idx="1028">
                  <c:v>109.786154575628</c:v>
                </c:pt>
                <c:pt idx="1029">
                  <c:v>108.621621621621</c:v>
                </c:pt>
                <c:pt idx="1030">
                  <c:v>107.59056424845799</c:v>
                </c:pt>
                <c:pt idx="1031">
                  <c:v>106.391180654338</c:v>
                </c:pt>
                <c:pt idx="1032">
                  <c:v>104.692271218587</c:v>
                </c:pt>
                <c:pt idx="1033">
                  <c:v>103.054291133238</c:v>
                </c:pt>
                <c:pt idx="1034">
                  <c:v>103.251778093883</c:v>
                </c:pt>
                <c:pt idx="1035">
                  <c:v>106.00308202939701</c:v>
                </c:pt>
                <c:pt idx="1036">
                  <c:v>108.428402086296</c:v>
                </c:pt>
                <c:pt idx="1037">
                  <c:v>110.979137031768</c:v>
                </c:pt>
                <c:pt idx="1038">
                  <c:v>111.739687055476</c:v>
                </c:pt>
                <c:pt idx="1039">
                  <c:v>111.31057373162599</c:v>
                </c:pt>
                <c:pt idx="1040">
                  <c:v>109.12636320531</c:v>
                </c:pt>
                <c:pt idx="1041">
                  <c:v>108.256045519203</c:v>
                </c:pt>
                <c:pt idx="1042">
                  <c:v>107.98198198198099</c:v>
                </c:pt>
                <c:pt idx="1043">
                  <c:v>108.26861071597899</c:v>
                </c:pt>
                <c:pt idx="1044">
                  <c:v>109.091038406827</c:v>
                </c:pt>
                <c:pt idx="1045">
                  <c:v>108.48743480322401</c:v>
                </c:pt>
                <c:pt idx="1046">
                  <c:v>106.732574679943</c:v>
                </c:pt>
                <c:pt idx="1047">
                  <c:v>106.00071123755301</c:v>
                </c:pt>
                <c:pt idx="1048">
                  <c:v>106.91299193930701</c:v>
                </c:pt>
                <c:pt idx="1049">
                  <c:v>107.348743480322</c:v>
                </c:pt>
                <c:pt idx="1050">
                  <c:v>108.513276434329</c:v>
                </c:pt>
                <c:pt idx="1051">
                  <c:v>108.626126126126</c:v>
                </c:pt>
                <c:pt idx="1052">
                  <c:v>108.646989094357</c:v>
                </c:pt>
                <c:pt idx="1053">
                  <c:v>110.279042200094</c:v>
                </c:pt>
                <c:pt idx="1054">
                  <c:v>110.859174964438</c:v>
                </c:pt>
                <c:pt idx="1055">
                  <c:v>111.202702702702</c:v>
                </c:pt>
                <c:pt idx="1056">
                  <c:v>110.922238027501</c:v>
                </c:pt>
                <c:pt idx="1057">
                  <c:v>108.915362731152</c:v>
                </c:pt>
                <c:pt idx="1058">
                  <c:v>109.666903745851</c:v>
                </c:pt>
                <c:pt idx="1059">
                  <c:v>111.61759127548601</c:v>
                </c:pt>
                <c:pt idx="1060">
                  <c:v>112.595068752963</c:v>
                </c:pt>
                <c:pt idx="1061">
                  <c:v>112.805595068752</c:v>
                </c:pt>
                <c:pt idx="1062">
                  <c:v>113.005926979611</c:v>
                </c:pt>
                <c:pt idx="1063">
                  <c:v>112.76552868658101</c:v>
                </c:pt>
                <c:pt idx="1064">
                  <c:v>113.554291133238</c:v>
                </c:pt>
                <c:pt idx="1065">
                  <c:v>114.03224276908399</c:v>
                </c:pt>
                <c:pt idx="1066">
                  <c:v>114.393551446183</c:v>
                </c:pt>
                <c:pt idx="1067">
                  <c:v>115.746088193456</c:v>
                </c:pt>
                <c:pt idx="1068">
                  <c:v>116.34423897581701</c:v>
                </c:pt>
                <c:pt idx="1069">
                  <c:v>115.000948316737</c:v>
                </c:pt>
                <c:pt idx="1070">
                  <c:v>112.50853485064</c:v>
                </c:pt>
                <c:pt idx="1071">
                  <c:v>112.23636794689401</c:v>
                </c:pt>
                <c:pt idx="1072">
                  <c:v>114.902560455192</c:v>
                </c:pt>
                <c:pt idx="1073">
                  <c:v>116.083926031294</c:v>
                </c:pt>
                <c:pt idx="1074">
                  <c:v>115.32645803698399</c:v>
                </c:pt>
                <c:pt idx="1075">
                  <c:v>114.001659554291</c:v>
                </c:pt>
                <c:pt idx="1076">
                  <c:v>113.15433854907501</c:v>
                </c:pt>
                <c:pt idx="1077">
                  <c:v>114.412280701754</c:v>
                </c:pt>
                <c:pt idx="1078">
                  <c:v>116.922238027501</c:v>
                </c:pt>
                <c:pt idx="1079">
                  <c:v>115.98269321953499</c:v>
                </c:pt>
                <c:pt idx="1080">
                  <c:v>114.442389758179</c:v>
                </c:pt>
                <c:pt idx="1081">
                  <c:v>114.269084874348</c:v>
                </c:pt>
                <c:pt idx="1082">
                  <c:v>114.880512091038</c:v>
                </c:pt>
                <c:pt idx="1083">
                  <c:v>117.05144618302501</c:v>
                </c:pt>
                <c:pt idx="1084">
                  <c:v>118.63584637268799</c:v>
                </c:pt>
                <c:pt idx="1085">
                  <c:v>117.36605026078701</c:v>
                </c:pt>
                <c:pt idx="1086">
                  <c:v>116.436462778568</c:v>
                </c:pt>
                <c:pt idx="1087">
                  <c:v>117.013513513513</c:v>
                </c:pt>
                <c:pt idx="1088">
                  <c:v>115.715504978662</c:v>
                </c:pt>
                <c:pt idx="1089">
                  <c:v>115.985538169748</c:v>
                </c:pt>
                <c:pt idx="1090">
                  <c:v>117.38430535798901</c:v>
                </c:pt>
                <c:pt idx="1091">
                  <c:v>116.552631578947</c:v>
                </c:pt>
                <c:pt idx="1092">
                  <c:v>114.513039355144</c:v>
                </c:pt>
                <c:pt idx="1093">
                  <c:v>114.20388809862401</c:v>
                </c:pt>
                <c:pt idx="1094">
                  <c:v>116.386439070649</c:v>
                </c:pt>
                <c:pt idx="1095">
                  <c:v>118.01493598862</c:v>
                </c:pt>
                <c:pt idx="1096">
                  <c:v>116.628971076339</c:v>
                </c:pt>
                <c:pt idx="1097">
                  <c:v>114.259127548601</c:v>
                </c:pt>
                <c:pt idx="1098">
                  <c:v>112.27856804172499</c:v>
                </c:pt>
                <c:pt idx="1099">
                  <c:v>112.548601232811</c:v>
                </c:pt>
                <c:pt idx="1100">
                  <c:v>114.766951161687</c:v>
                </c:pt>
                <c:pt idx="1101">
                  <c:v>116.681365576102</c:v>
                </c:pt>
                <c:pt idx="1102">
                  <c:v>119.60668563300101</c:v>
                </c:pt>
                <c:pt idx="1103">
                  <c:v>119.81816026552799</c:v>
                </c:pt>
                <c:pt idx="1104">
                  <c:v>119.704836415362</c:v>
                </c:pt>
                <c:pt idx="1105">
                  <c:v>120.622807017543</c:v>
                </c:pt>
                <c:pt idx="1106">
                  <c:v>119.21977240398201</c:v>
                </c:pt>
                <c:pt idx="1107">
                  <c:v>118.177335229966</c:v>
                </c:pt>
                <c:pt idx="1108">
                  <c:v>116.383357041251</c:v>
                </c:pt>
                <c:pt idx="1109">
                  <c:v>115.777619724988</c:v>
                </c:pt>
                <c:pt idx="1110">
                  <c:v>118.201043148411</c:v>
                </c:pt>
                <c:pt idx="1111">
                  <c:v>118.50640113798001</c:v>
                </c:pt>
                <c:pt idx="1112">
                  <c:v>117.829302987197</c:v>
                </c:pt>
                <c:pt idx="1113">
                  <c:v>118.423897581792</c:v>
                </c:pt>
                <c:pt idx="1114">
                  <c:v>117.45590327169199</c:v>
                </c:pt>
                <c:pt idx="1115">
                  <c:v>117.099336178283</c:v>
                </c:pt>
                <c:pt idx="1116">
                  <c:v>117.990042674253</c:v>
                </c:pt>
                <c:pt idx="1117">
                  <c:v>119.041488857278</c:v>
                </c:pt>
                <c:pt idx="1118">
                  <c:v>119.386676149834</c:v>
                </c:pt>
                <c:pt idx="1119">
                  <c:v>118.58013276434301</c:v>
                </c:pt>
                <c:pt idx="1120">
                  <c:v>119.03627311522</c:v>
                </c:pt>
                <c:pt idx="1121">
                  <c:v>120.001422475106</c:v>
                </c:pt>
                <c:pt idx="1122">
                  <c:v>119.187055476529</c:v>
                </c:pt>
                <c:pt idx="1123">
                  <c:v>117.739212897107</c:v>
                </c:pt>
                <c:pt idx="1124">
                  <c:v>118.199620673304</c:v>
                </c:pt>
                <c:pt idx="1125">
                  <c:v>118.795637743006</c:v>
                </c:pt>
                <c:pt idx="1126">
                  <c:v>119.09601706970101</c:v>
                </c:pt>
                <c:pt idx="1127">
                  <c:v>120.708629682313</c:v>
                </c:pt>
                <c:pt idx="1128">
                  <c:v>121.030583214793</c:v>
                </c:pt>
                <c:pt idx="1129">
                  <c:v>118.322664770033</c:v>
                </c:pt>
                <c:pt idx="1130">
                  <c:v>116.584874348032</c:v>
                </c:pt>
                <c:pt idx="1131">
                  <c:v>116.88928402086199</c:v>
                </c:pt>
                <c:pt idx="1132">
                  <c:v>118.08368895210999</c:v>
                </c:pt>
                <c:pt idx="1133">
                  <c:v>119.96965386439</c:v>
                </c:pt>
                <c:pt idx="1134">
                  <c:v>120.958274063537</c:v>
                </c:pt>
                <c:pt idx="1135">
                  <c:v>120.76244665718301</c:v>
                </c:pt>
                <c:pt idx="1136">
                  <c:v>121.33712660028399</c:v>
                </c:pt>
                <c:pt idx="1137">
                  <c:v>120.561166429587</c:v>
                </c:pt>
                <c:pt idx="1138">
                  <c:v>118.867946894262</c:v>
                </c:pt>
                <c:pt idx="1139">
                  <c:v>117.827169274537</c:v>
                </c:pt>
                <c:pt idx="1140">
                  <c:v>116.984352773826</c:v>
                </c:pt>
                <c:pt idx="1141">
                  <c:v>118.215742057847</c:v>
                </c:pt>
                <c:pt idx="1142">
                  <c:v>118.570886676149</c:v>
                </c:pt>
                <c:pt idx="1143">
                  <c:v>117.983641536273</c:v>
                </c:pt>
                <c:pt idx="1144">
                  <c:v>117.98790896159301</c:v>
                </c:pt>
                <c:pt idx="1145">
                  <c:v>116.953295400663</c:v>
                </c:pt>
                <c:pt idx="1146">
                  <c:v>116.355855855855</c:v>
                </c:pt>
                <c:pt idx="1147">
                  <c:v>117.86462778568</c:v>
                </c:pt>
                <c:pt idx="1148">
                  <c:v>117.838311996206</c:v>
                </c:pt>
                <c:pt idx="1149">
                  <c:v>117.563300142247</c:v>
                </c:pt>
                <c:pt idx="1150">
                  <c:v>118.485775248933</c:v>
                </c:pt>
                <c:pt idx="1151">
                  <c:v>117.78710289236599</c:v>
                </c:pt>
                <c:pt idx="1152">
                  <c:v>117.84186818397301</c:v>
                </c:pt>
                <c:pt idx="1153">
                  <c:v>119.021811284969</c:v>
                </c:pt>
                <c:pt idx="1154">
                  <c:v>118.727833096254</c:v>
                </c:pt>
                <c:pt idx="1155">
                  <c:v>118.94476055002301</c:v>
                </c:pt>
                <c:pt idx="1156">
                  <c:v>119.80227596016999</c:v>
                </c:pt>
                <c:pt idx="1157">
                  <c:v>120.195827406353</c:v>
                </c:pt>
                <c:pt idx="1158">
                  <c:v>119.34471313418599</c:v>
                </c:pt>
                <c:pt idx="1159">
                  <c:v>118.129919393077</c:v>
                </c:pt>
                <c:pt idx="1160">
                  <c:v>117.617117117117</c:v>
                </c:pt>
                <c:pt idx="1161">
                  <c:v>118.681128496917</c:v>
                </c:pt>
                <c:pt idx="1162">
                  <c:v>120.257942152678</c:v>
                </c:pt>
                <c:pt idx="1163">
                  <c:v>121.343053579895</c:v>
                </c:pt>
                <c:pt idx="1164">
                  <c:v>119.409672830725</c:v>
                </c:pt>
                <c:pt idx="1165">
                  <c:v>117.970128022759</c:v>
                </c:pt>
                <c:pt idx="1166">
                  <c:v>118.448790896159</c:v>
                </c:pt>
                <c:pt idx="1167">
                  <c:v>117.631341868183</c:v>
                </c:pt>
                <c:pt idx="1168">
                  <c:v>115.840682788051</c:v>
                </c:pt>
                <c:pt idx="1169">
                  <c:v>115.73352299667999</c:v>
                </c:pt>
                <c:pt idx="1170">
                  <c:v>118.26244665718301</c:v>
                </c:pt>
                <c:pt idx="1171">
                  <c:v>121.199620673304</c:v>
                </c:pt>
                <c:pt idx="1172">
                  <c:v>122.001659554291</c:v>
                </c:pt>
                <c:pt idx="1173">
                  <c:v>118.11427216690301</c:v>
                </c:pt>
                <c:pt idx="1174">
                  <c:v>115.702228544333</c:v>
                </c:pt>
                <c:pt idx="1175">
                  <c:v>116.390706495969</c:v>
                </c:pt>
                <c:pt idx="1176">
                  <c:v>118.036984352773</c:v>
                </c:pt>
                <c:pt idx="1177">
                  <c:v>117.766477003319</c:v>
                </c:pt>
                <c:pt idx="1178">
                  <c:v>116.899241346609</c:v>
                </c:pt>
                <c:pt idx="1179">
                  <c:v>118.161450924608</c:v>
                </c:pt>
                <c:pt idx="1180">
                  <c:v>118.970839260312</c:v>
                </c:pt>
                <c:pt idx="1181">
                  <c:v>117.635609293504</c:v>
                </c:pt>
                <c:pt idx="1182">
                  <c:v>117.04551920341299</c:v>
                </c:pt>
                <c:pt idx="1183">
                  <c:v>118.267188240872</c:v>
                </c:pt>
                <c:pt idx="1184">
                  <c:v>120.569464201043</c:v>
                </c:pt>
                <c:pt idx="1185">
                  <c:v>121.07942152678901</c:v>
                </c:pt>
                <c:pt idx="1186">
                  <c:v>120.638691322901</c:v>
                </c:pt>
                <c:pt idx="1187">
                  <c:v>120.61119013750501</c:v>
                </c:pt>
                <c:pt idx="1188">
                  <c:v>120.39710763394901</c:v>
                </c:pt>
                <c:pt idx="1189">
                  <c:v>118.49810336652401</c:v>
                </c:pt>
                <c:pt idx="1190">
                  <c:v>117.072072072072</c:v>
                </c:pt>
                <c:pt idx="1191">
                  <c:v>116.77003319108501</c:v>
                </c:pt>
                <c:pt idx="1192">
                  <c:v>116.661213845424</c:v>
                </c:pt>
                <c:pt idx="1193">
                  <c:v>116.90066382171599</c:v>
                </c:pt>
                <c:pt idx="1194">
                  <c:v>119.24442863916499</c:v>
                </c:pt>
                <c:pt idx="1195">
                  <c:v>121.10668563300101</c:v>
                </c:pt>
                <c:pt idx="1196">
                  <c:v>119.68018018018</c:v>
                </c:pt>
                <c:pt idx="1197">
                  <c:v>120.62707444286301</c:v>
                </c:pt>
                <c:pt idx="1198">
                  <c:v>123.059981033665</c:v>
                </c:pt>
                <c:pt idx="1199">
                  <c:v>122.35301090564199</c:v>
                </c:pt>
                <c:pt idx="1200">
                  <c:v>121.322664770033</c:v>
                </c:pt>
                <c:pt idx="1201">
                  <c:v>121.777619724988</c:v>
                </c:pt>
                <c:pt idx="1202">
                  <c:v>122.967283072546</c:v>
                </c:pt>
                <c:pt idx="1203">
                  <c:v>123.73992413466</c:v>
                </c:pt>
                <c:pt idx="1204">
                  <c:v>124.454480796586</c:v>
                </c:pt>
                <c:pt idx="1205">
                  <c:v>123.330014224751</c:v>
                </c:pt>
                <c:pt idx="1206">
                  <c:v>119.984352773826</c:v>
                </c:pt>
                <c:pt idx="1207">
                  <c:v>117.745851114272</c:v>
                </c:pt>
                <c:pt idx="1208">
                  <c:v>117.30227596016999</c:v>
                </c:pt>
                <c:pt idx="1209">
                  <c:v>119.52228544333801</c:v>
                </c:pt>
                <c:pt idx="1210">
                  <c:v>120.837363679468</c:v>
                </c:pt>
                <c:pt idx="1211">
                  <c:v>120.80180180180101</c:v>
                </c:pt>
                <c:pt idx="1212">
                  <c:v>121.350403034613</c:v>
                </c:pt>
                <c:pt idx="1213">
                  <c:v>123.13821716453199</c:v>
                </c:pt>
                <c:pt idx="1214">
                  <c:v>123.434803224276</c:v>
                </c:pt>
                <c:pt idx="1215">
                  <c:v>121.70199146514901</c:v>
                </c:pt>
                <c:pt idx="1216">
                  <c:v>122.621384542437</c:v>
                </c:pt>
                <c:pt idx="1217">
                  <c:v>125.59056424845799</c:v>
                </c:pt>
                <c:pt idx="1218">
                  <c:v>129.29397818871499</c:v>
                </c:pt>
                <c:pt idx="1219">
                  <c:v>128.45400663821701</c:v>
                </c:pt>
                <c:pt idx="1220">
                  <c:v>125.962541488857</c:v>
                </c:pt>
                <c:pt idx="1221">
                  <c:v>125.078236130867</c:v>
                </c:pt>
                <c:pt idx="1222">
                  <c:v>127.193219535324</c:v>
                </c:pt>
                <c:pt idx="1223">
                  <c:v>127.763632053105</c:v>
                </c:pt>
                <c:pt idx="1224">
                  <c:v>127.076102418207</c:v>
                </c:pt>
                <c:pt idx="1225">
                  <c:v>128.40848743480299</c:v>
                </c:pt>
                <c:pt idx="1226">
                  <c:v>128.112612612612</c:v>
                </c:pt>
                <c:pt idx="1227">
                  <c:v>128.15410146989001</c:v>
                </c:pt>
                <c:pt idx="1228">
                  <c:v>127.580844001896</c:v>
                </c:pt>
                <c:pt idx="1229">
                  <c:v>126.526315789473</c:v>
                </c:pt>
                <c:pt idx="1230">
                  <c:v>126.186344238975</c:v>
                </c:pt>
                <c:pt idx="1231">
                  <c:v>126.010905642484</c:v>
                </c:pt>
                <c:pt idx="1232">
                  <c:v>124.98719772403901</c:v>
                </c:pt>
                <c:pt idx="1233">
                  <c:v>124.863679468942</c:v>
                </c:pt>
                <c:pt idx="1234">
                  <c:v>126.187766714082</c:v>
                </c:pt>
                <c:pt idx="1235">
                  <c:v>126.040777619724</c:v>
                </c:pt>
                <c:pt idx="1236">
                  <c:v>125.664295874822</c:v>
                </c:pt>
                <c:pt idx="1237">
                  <c:v>125.81294452346999</c:v>
                </c:pt>
                <c:pt idx="1238">
                  <c:v>126.115220483641</c:v>
                </c:pt>
                <c:pt idx="1239">
                  <c:v>125.867946894262</c:v>
                </c:pt>
                <c:pt idx="1240">
                  <c:v>127.65173067804599</c:v>
                </c:pt>
                <c:pt idx="1241">
                  <c:v>129.01706970128001</c:v>
                </c:pt>
                <c:pt idx="1242">
                  <c:v>128.923423423423</c:v>
                </c:pt>
                <c:pt idx="1243">
                  <c:v>127.21266002844899</c:v>
                </c:pt>
                <c:pt idx="1244">
                  <c:v>126.291370317686</c:v>
                </c:pt>
                <c:pt idx="1245">
                  <c:v>127.50355618776599</c:v>
                </c:pt>
                <c:pt idx="1246">
                  <c:v>128.85064011379799</c:v>
                </c:pt>
                <c:pt idx="1247">
                  <c:v>127.82835467045901</c:v>
                </c:pt>
                <c:pt idx="1248">
                  <c:v>126.101944049312</c:v>
                </c:pt>
                <c:pt idx="1249">
                  <c:v>124.65481270744399</c:v>
                </c:pt>
                <c:pt idx="1250">
                  <c:v>123.62636320531</c:v>
                </c:pt>
                <c:pt idx="1251">
                  <c:v>123.940493124703</c:v>
                </c:pt>
                <c:pt idx="1252">
                  <c:v>125.96965386439</c:v>
                </c:pt>
                <c:pt idx="1253">
                  <c:v>130.22641062114701</c:v>
                </c:pt>
                <c:pt idx="1254">
                  <c:v>134.39568515884301</c:v>
                </c:pt>
                <c:pt idx="1255">
                  <c:v>133.89260312944501</c:v>
                </c:pt>
                <c:pt idx="1256">
                  <c:v>130.66192508297701</c:v>
                </c:pt>
                <c:pt idx="1257">
                  <c:v>128.107871028923</c:v>
                </c:pt>
                <c:pt idx="1258">
                  <c:v>126.04694167852</c:v>
                </c:pt>
                <c:pt idx="1259">
                  <c:v>126.208866761498</c:v>
                </c:pt>
                <c:pt idx="1260">
                  <c:v>126.85395922238</c:v>
                </c:pt>
                <c:pt idx="1261">
                  <c:v>128.66239924134601</c:v>
                </c:pt>
                <c:pt idx="1262">
                  <c:v>130.07752489331401</c:v>
                </c:pt>
                <c:pt idx="1263">
                  <c:v>129.703176861071</c:v>
                </c:pt>
                <c:pt idx="1264">
                  <c:v>128.859886201991</c:v>
                </c:pt>
                <c:pt idx="1265">
                  <c:v>127.462778568041</c:v>
                </c:pt>
                <c:pt idx="1266">
                  <c:v>127.49596965386399</c:v>
                </c:pt>
                <c:pt idx="1267">
                  <c:v>127.775960170697</c:v>
                </c:pt>
                <c:pt idx="1268">
                  <c:v>128.821953532479</c:v>
                </c:pt>
                <c:pt idx="1269">
                  <c:v>129.93504030346099</c:v>
                </c:pt>
                <c:pt idx="1270">
                  <c:v>130.03247984826899</c:v>
                </c:pt>
                <c:pt idx="1271">
                  <c:v>132.37624466571799</c:v>
                </c:pt>
                <c:pt idx="1272">
                  <c:v>131.35561877667101</c:v>
                </c:pt>
                <c:pt idx="1273">
                  <c:v>129.62683736367899</c:v>
                </c:pt>
                <c:pt idx="1274">
                  <c:v>131.16737790421999</c:v>
                </c:pt>
                <c:pt idx="1275">
                  <c:v>133.22546230440901</c:v>
                </c:pt>
                <c:pt idx="1276">
                  <c:v>133.579658605974</c:v>
                </c:pt>
                <c:pt idx="1277">
                  <c:v>133.39568515884301</c:v>
                </c:pt>
                <c:pt idx="1278">
                  <c:v>130.05026078710199</c:v>
                </c:pt>
                <c:pt idx="1279">
                  <c:v>127.683736367946</c:v>
                </c:pt>
                <c:pt idx="1280">
                  <c:v>132.90659080132701</c:v>
                </c:pt>
                <c:pt idx="1281">
                  <c:v>137.145329540066</c:v>
                </c:pt>
                <c:pt idx="1282">
                  <c:v>137.716690374585</c:v>
                </c:pt>
                <c:pt idx="1283">
                  <c:v>135.305832147937</c:v>
                </c:pt>
                <c:pt idx="1284">
                  <c:v>133.92152678994699</c:v>
                </c:pt>
                <c:pt idx="1285">
                  <c:v>131.92413466097599</c:v>
                </c:pt>
                <c:pt idx="1286">
                  <c:v>130.956377430061</c:v>
                </c:pt>
                <c:pt idx="1287">
                  <c:v>131.27382645803601</c:v>
                </c:pt>
                <c:pt idx="1288">
                  <c:v>130.415599810336</c:v>
                </c:pt>
                <c:pt idx="1289">
                  <c:v>129.20365101944</c:v>
                </c:pt>
                <c:pt idx="1290">
                  <c:v>129.42413466097599</c:v>
                </c:pt>
                <c:pt idx="1291">
                  <c:v>130.99454717875699</c:v>
                </c:pt>
                <c:pt idx="1292">
                  <c:v>132.492176386913</c:v>
                </c:pt>
                <c:pt idx="1293">
                  <c:v>133.87624466571799</c:v>
                </c:pt>
                <c:pt idx="1294">
                  <c:v>132.73897581792301</c:v>
                </c:pt>
                <c:pt idx="1295">
                  <c:v>131.23684210526301</c:v>
                </c:pt>
                <c:pt idx="1296">
                  <c:v>130.98838311996201</c:v>
                </c:pt>
                <c:pt idx="1297">
                  <c:v>130.84921763869099</c:v>
                </c:pt>
                <c:pt idx="1298">
                  <c:v>129.99051683262201</c:v>
                </c:pt>
                <c:pt idx="1299">
                  <c:v>128.13086770981499</c:v>
                </c:pt>
                <c:pt idx="1300">
                  <c:v>129.17472735893699</c:v>
                </c:pt>
                <c:pt idx="1301">
                  <c:v>129.71763869132201</c:v>
                </c:pt>
                <c:pt idx="1302">
                  <c:v>130.82219061166401</c:v>
                </c:pt>
                <c:pt idx="1303">
                  <c:v>129.88051209103801</c:v>
                </c:pt>
                <c:pt idx="1304">
                  <c:v>129.539118065433</c:v>
                </c:pt>
                <c:pt idx="1305">
                  <c:v>127.64366998577501</c:v>
                </c:pt>
                <c:pt idx="1306">
                  <c:v>126.067567567567</c:v>
                </c:pt>
                <c:pt idx="1307">
                  <c:v>127.370317686107</c:v>
                </c:pt>
                <c:pt idx="1308">
                  <c:v>128.80867709815001</c:v>
                </c:pt>
                <c:pt idx="1309">
                  <c:v>127.573731626363</c:v>
                </c:pt>
                <c:pt idx="1310">
                  <c:v>126.212422949265</c:v>
                </c:pt>
                <c:pt idx="1311">
                  <c:v>126.19108582266399</c:v>
                </c:pt>
                <c:pt idx="1312">
                  <c:v>125.154575628259</c:v>
                </c:pt>
                <c:pt idx="1313">
                  <c:v>125.953295400663</c:v>
                </c:pt>
                <c:pt idx="1314">
                  <c:v>127.05073494547101</c:v>
                </c:pt>
                <c:pt idx="1315">
                  <c:v>126.688240872451</c:v>
                </c:pt>
                <c:pt idx="1316">
                  <c:v>126.330014224751</c:v>
                </c:pt>
                <c:pt idx="1317">
                  <c:v>129.746325272641</c:v>
                </c:pt>
                <c:pt idx="1318">
                  <c:v>132.60194404931201</c:v>
                </c:pt>
                <c:pt idx="1319">
                  <c:v>131.33926031294399</c:v>
                </c:pt>
                <c:pt idx="1320">
                  <c:v>128.98103366524401</c:v>
                </c:pt>
                <c:pt idx="1321">
                  <c:v>128.021811284969</c:v>
                </c:pt>
                <c:pt idx="1322">
                  <c:v>129.11901375059199</c:v>
                </c:pt>
                <c:pt idx="1323">
                  <c:v>131.120436225699</c:v>
                </c:pt>
                <c:pt idx="1324">
                  <c:v>131.29208155523901</c:v>
                </c:pt>
                <c:pt idx="1325">
                  <c:v>131.42105263157799</c:v>
                </c:pt>
                <c:pt idx="1326">
                  <c:v>134.54291133238499</c:v>
                </c:pt>
                <c:pt idx="1327">
                  <c:v>133.80606922712099</c:v>
                </c:pt>
                <c:pt idx="1328">
                  <c:v>128.91963015647201</c:v>
                </c:pt>
                <c:pt idx="1329">
                  <c:v>126.707444286391</c:v>
                </c:pt>
                <c:pt idx="1330">
                  <c:v>127.748221906116</c:v>
                </c:pt>
                <c:pt idx="1331">
                  <c:v>129.883357041251</c:v>
                </c:pt>
                <c:pt idx="1332">
                  <c:v>131.573020388809</c:v>
                </c:pt>
                <c:pt idx="1333">
                  <c:v>131.116168800379</c:v>
                </c:pt>
                <c:pt idx="1334">
                  <c:v>129.62233285917401</c:v>
                </c:pt>
                <c:pt idx="1335">
                  <c:v>128.327169274537</c:v>
                </c:pt>
                <c:pt idx="1336">
                  <c:v>128.08250355618699</c:v>
                </c:pt>
                <c:pt idx="1337">
                  <c:v>127.83357041251701</c:v>
                </c:pt>
                <c:pt idx="1338">
                  <c:v>127.740635372214</c:v>
                </c:pt>
                <c:pt idx="1339">
                  <c:v>128.889046941678</c:v>
                </c:pt>
                <c:pt idx="1340">
                  <c:v>129.619724988146</c:v>
                </c:pt>
                <c:pt idx="1341">
                  <c:v>129.27121858700801</c:v>
                </c:pt>
                <c:pt idx="1342">
                  <c:v>130.02678994784199</c:v>
                </c:pt>
                <c:pt idx="1343">
                  <c:v>129.77121858700801</c:v>
                </c:pt>
                <c:pt idx="1344">
                  <c:v>129.17638691322901</c:v>
                </c:pt>
                <c:pt idx="1345">
                  <c:v>128.644855381697</c:v>
                </c:pt>
                <c:pt idx="1346">
                  <c:v>127.71028923660501</c:v>
                </c:pt>
                <c:pt idx="1347">
                  <c:v>128.61474632527199</c:v>
                </c:pt>
                <c:pt idx="1348">
                  <c:v>130.714556661925</c:v>
                </c:pt>
                <c:pt idx="1349">
                  <c:v>131.543385490753</c:v>
                </c:pt>
                <c:pt idx="1350">
                  <c:v>130.41702228544301</c:v>
                </c:pt>
                <c:pt idx="1351">
                  <c:v>128.42318634423799</c:v>
                </c:pt>
                <c:pt idx="1352">
                  <c:v>127.024419155998</c:v>
                </c:pt>
                <c:pt idx="1353">
                  <c:v>127.85301090564199</c:v>
                </c:pt>
                <c:pt idx="1354">
                  <c:v>129.46846846846799</c:v>
                </c:pt>
                <c:pt idx="1355">
                  <c:v>127.75225225225201</c:v>
                </c:pt>
                <c:pt idx="1356">
                  <c:v>126.77667140825</c:v>
                </c:pt>
                <c:pt idx="1357">
                  <c:v>127.791133238501</c:v>
                </c:pt>
                <c:pt idx="1358">
                  <c:v>129.14912280701699</c:v>
                </c:pt>
                <c:pt idx="1359">
                  <c:v>131.30559506875201</c:v>
                </c:pt>
                <c:pt idx="1360">
                  <c:v>131.248458985301</c:v>
                </c:pt>
                <c:pt idx="1361">
                  <c:v>132.389046941678</c:v>
                </c:pt>
                <c:pt idx="1362">
                  <c:v>133.288051209103</c:v>
                </c:pt>
                <c:pt idx="1363">
                  <c:v>133.06021811284899</c:v>
                </c:pt>
                <c:pt idx="1364">
                  <c:v>130.73044096728299</c:v>
                </c:pt>
                <c:pt idx="1365">
                  <c:v>128.68421052631501</c:v>
                </c:pt>
                <c:pt idx="1366">
                  <c:v>128.13726884779501</c:v>
                </c:pt>
                <c:pt idx="1367">
                  <c:v>129.42958748221901</c:v>
                </c:pt>
                <c:pt idx="1368">
                  <c:v>131.104788999525</c:v>
                </c:pt>
                <c:pt idx="1369">
                  <c:v>131.00568990042601</c:v>
                </c:pt>
                <c:pt idx="1370">
                  <c:v>131.02465623518199</c:v>
                </c:pt>
                <c:pt idx="1371">
                  <c:v>131.84779516358401</c:v>
                </c:pt>
                <c:pt idx="1372">
                  <c:v>133.00877192982401</c:v>
                </c:pt>
                <c:pt idx="1373">
                  <c:v>131.73779042199999</c:v>
                </c:pt>
                <c:pt idx="1374">
                  <c:v>128.42935040303399</c:v>
                </c:pt>
                <c:pt idx="1375">
                  <c:v>127.18610715979101</c:v>
                </c:pt>
                <c:pt idx="1376">
                  <c:v>129.174964438122</c:v>
                </c:pt>
                <c:pt idx="1377">
                  <c:v>130.78994784257901</c:v>
                </c:pt>
                <c:pt idx="1378">
                  <c:v>129.85917496443801</c:v>
                </c:pt>
                <c:pt idx="1379">
                  <c:v>129.657894736842</c:v>
                </c:pt>
                <c:pt idx="1380">
                  <c:v>130.71005215741999</c:v>
                </c:pt>
                <c:pt idx="1381">
                  <c:v>133.01635846372599</c:v>
                </c:pt>
                <c:pt idx="1382">
                  <c:v>132.747510668563</c:v>
                </c:pt>
                <c:pt idx="1383">
                  <c:v>131.42010431484101</c:v>
                </c:pt>
                <c:pt idx="1384">
                  <c:v>130.449027975343</c:v>
                </c:pt>
                <c:pt idx="1385">
                  <c:v>129.01114272166899</c:v>
                </c:pt>
                <c:pt idx="1386">
                  <c:v>126.61474632527199</c:v>
                </c:pt>
                <c:pt idx="1387">
                  <c:v>125.931721194879</c:v>
                </c:pt>
                <c:pt idx="1388">
                  <c:v>127.510905642484</c:v>
                </c:pt>
                <c:pt idx="1389">
                  <c:v>129.06851588430499</c:v>
                </c:pt>
                <c:pt idx="1390">
                  <c:v>129.53982930298699</c:v>
                </c:pt>
                <c:pt idx="1391">
                  <c:v>130.30393551446099</c:v>
                </c:pt>
                <c:pt idx="1392">
                  <c:v>131.50047415836801</c:v>
                </c:pt>
                <c:pt idx="1393">
                  <c:v>133.71076339497299</c:v>
                </c:pt>
                <c:pt idx="1394">
                  <c:v>134.73091512565099</c:v>
                </c:pt>
                <c:pt idx="1395">
                  <c:v>133.77335229966801</c:v>
                </c:pt>
                <c:pt idx="1396">
                  <c:v>131.348506401137</c:v>
                </c:pt>
                <c:pt idx="1397">
                  <c:v>129.804646752015</c:v>
                </c:pt>
                <c:pt idx="1398">
                  <c:v>131.70602181128399</c:v>
                </c:pt>
                <c:pt idx="1399">
                  <c:v>133.89094357515401</c:v>
                </c:pt>
                <c:pt idx="1400">
                  <c:v>135.72356567093399</c:v>
                </c:pt>
                <c:pt idx="1401">
                  <c:v>135.48221906116601</c:v>
                </c:pt>
                <c:pt idx="1402">
                  <c:v>134.40090090090001</c:v>
                </c:pt>
                <c:pt idx="1403">
                  <c:v>134.04006638217101</c:v>
                </c:pt>
                <c:pt idx="1404">
                  <c:v>132.912517780938</c:v>
                </c:pt>
                <c:pt idx="1405">
                  <c:v>131.92223802750101</c:v>
                </c:pt>
                <c:pt idx="1406">
                  <c:v>131.64461830251301</c:v>
                </c:pt>
                <c:pt idx="1407">
                  <c:v>133.041725936462</c:v>
                </c:pt>
                <c:pt idx="1408">
                  <c:v>135.895448079658</c:v>
                </c:pt>
                <c:pt idx="1409">
                  <c:v>138.509483167377</c:v>
                </c:pt>
                <c:pt idx="1410">
                  <c:v>136.695827406353</c:v>
                </c:pt>
                <c:pt idx="1411">
                  <c:v>134.557373162636</c:v>
                </c:pt>
                <c:pt idx="1412">
                  <c:v>132.84708392603099</c:v>
                </c:pt>
                <c:pt idx="1413">
                  <c:v>131.52228544333801</c:v>
                </c:pt>
                <c:pt idx="1414">
                  <c:v>132.53579895685101</c:v>
                </c:pt>
                <c:pt idx="1415">
                  <c:v>133.640587956377</c:v>
                </c:pt>
                <c:pt idx="1416">
                  <c:v>133.53200568989999</c:v>
                </c:pt>
                <c:pt idx="1417">
                  <c:v>134.13300142247499</c:v>
                </c:pt>
                <c:pt idx="1418">
                  <c:v>133.15457562825901</c:v>
                </c:pt>
                <c:pt idx="1419">
                  <c:v>130.943812233285</c:v>
                </c:pt>
                <c:pt idx="1420">
                  <c:v>129.277145566619</c:v>
                </c:pt>
                <c:pt idx="1421">
                  <c:v>130.226647700331</c:v>
                </c:pt>
                <c:pt idx="1422">
                  <c:v>130.78449502133699</c:v>
                </c:pt>
                <c:pt idx="1423">
                  <c:v>132.362019914651</c:v>
                </c:pt>
                <c:pt idx="1424">
                  <c:v>131.616642958748</c:v>
                </c:pt>
                <c:pt idx="1425">
                  <c:v>129.99051683262201</c:v>
                </c:pt>
                <c:pt idx="1426">
                  <c:v>130.06899004267399</c:v>
                </c:pt>
                <c:pt idx="1427">
                  <c:v>130.15244191559901</c:v>
                </c:pt>
                <c:pt idx="1428">
                  <c:v>130.95139876718801</c:v>
                </c:pt>
                <c:pt idx="1429">
                  <c:v>132.77311522048299</c:v>
                </c:pt>
                <c:pt idx="1430">
                  <c:v>134.78330962541401</c:v>
                </c:pt>
                <c:pt idx="1431">
                  <c:v>136.06187766714001</c:v>
                </c:pt>
                <c:pt idx="1432">
                  <c:v>136.28378378378301</c:v>
                </c:pt>
                <c:pt idx="1433">
                  <c:v>134.462541488857</c:v>
                </c:pt>
                <c:pt idx="1434">
                  <c:v>131.581318160265</c:v>
                </c:pt>
                <c:pt idx="1435">
                  <c:v>131.31365576102399</c:v>
                </c:pt>
                <c:pt idx="1436">
                  <c:v>132.49146514935899</c:v>
                </c:pt>
                <c:pt idx="1437">
                  <c:v>132.80559506875201</c:v>
                </c:pt>
                <c:pt idx="1438">
                  <c:v>131.50308202939701</c:v>
                </c:pt>
                <c:pt idx="1439">
                  <c:v>131.92437174016101</c:v>
                </c:pt>
                <c:pt idx="1440">
                  <c:v>132.06164058795599</c:v>
                </c:pt>
                <c:pt idx="1441">
                  <c:v>131.72356567093399</c:v>
                </c:pt>
                <c:pt idx="1442">
                  <c:v>131.27738264580299</c:v>
                </c:pt>
                <c:pt idx="1443">
                  <c:v>132.712422949265</c:v>
                </c:pt>
                <c:pt idx="1444">
                  <c:v>135.71123755334199</c:v>
                </c:pt>
                <c:pt idx="1445">
                  <c:v>135.64414414414401</c:v>
                </c:pt>
                <c:pt idx="1446">
                  <c:v>134.13892840208601</c:v>
                </c:pt>
                <c:pt idx="1447">
                  <c:v>134.01706970128001</c:v>
                </c:pt>
                <c:pt idx="1448">
                  <c:v>133.629208155523</c:v>
                </c:pt>
                <c:pt idx="1449">
                  <c:v>132.866287339971</c:v>
                </c:pt>
                <c:pt idx="1450">
                  <c:v>133.543859649122</c:v>
                </c:pt>
                <c:pt idx="1451">
                  <c:v>134.869369369369</c:v>
                </c:pt>
                <c:pt idx="1452">
                  <c:v>135.816737790421</c:v>
                </c:pt>
                <c:pt idx="1453">
                  <c:v>137.265054528212</c:v>
                </c:pt>
                <c:pt idx="1454">
                  <c:v>137.957325746799</c:v>
                </c:pt>
                <c:pt idx="1455">
                  <c:v>138.391180654338</c:v>
                </c:pt>
                <c:pt idx="1456">
                  <c:v>140.01375059269699</c:v>
                </c:pt>
                <c:pt idx="1457">
                  <c:v>139.72024656235101</c:v>
                </c:pt>
                <c:pt idx="1458">
                  <c:v>138.43693693693601</c:v>
                </c:pt>
                <c:pt idx="1459">
                  <c:v>138.59435751541</c:v>
                </c:pt>
                <c:pt idx="1460">
                  <c:v>137.655286865813</c:v>
                </c:pt>
                <c:pt idx="1461">
                  <c:v>135.91607396870501</c:v>
                </c:pt>
                <c:pt idx="1462">
                  <c:v>134.840682788051</c:v>
                </c:pt>
                <c:pt idx="1463">
                  <c:v>135.00640113797999</c:v>
                </c:pt>
                <c:pt idx="1464">
                  <c:v>134.69724988146001</c:v>
                </c:pt>
                <c:pt idx="1465">
                  <c:v>135.39307728781401</c:v>
                </c:pt>
                <c:pt idx="1466">
                  <c:v>135.96704599336101</c:v>
                </c:pt>
                <c:pt idx="1467">
                  <c:v>134.42057847321001</c:v>
                </c:pt>
                <c:pt idx="1468">
                  <c:v>133.73613086770899</c:v>
                </c:pt>
                <c:pt idx="1469">
                  <c:v>135.43622569938299</c:v>
                </c:pt>
                <c:pt idx="1470">
                  <c:v>136.81768610715901</c:v>
                </c:pt>
                <c:pt idx="1471">
                  <c:v>137.09127548601199</c:v>
                </c:pt>
                <c:pt idx="1472">
                  <c:v>137.739212897107</c:v>
                </c:pt>
                <c:pt idx="1473">
                  <c:v>137.53532479848201</c:v>
                </c:pt>
                <c:pt idx="1474">
                  <c:v>139.423897581792</c:v>
                </c:pt>
                <c:pt idx="1475">
                  <c:v>138.831910858226</c:v>
                </c:pt>
                <c:pt idx="1476">
                  <c:v>139.39260312944501</c:v>
                </c:pt>
                <c:pt idx="1477">
                  <c:v>141.842816500711</c:v>
                </c:pt>
                <c:pt idx="1478">
                  <c:v>140.579658605974</c:v>
                </c:pt>
                <c:pt idx="1479">
                  <c:v>139.42532005689901</c:v>
                </c:pt>
                <c:pt idx="1480">
                  <c:v>141.40848743480299</c:v>
                </c:pt>
                <c:pt idx="1481">
                  <c:v>142.898530109056</c:v>
                </c:pt>
                <c:pt idx="1482">
                  <c:v>142.48672356566999</c:v>
                </c:pt>
                <c:pt idx="1483">
                  <c:v>140.39663347557999</c:v>
                </c:pt>
                <c:pt idx="1484">
                  <c:v>137.60644855381599</c:v>
                </c:pt>
                <c:pt idx="1485">
                  <c:v>136.92152678994699</c:v>
                </c:pt>
                <c:pt idx="1486">
                  <c:v>138.17780938833499</c:v>
                </c:pt>
                <c:pt idx="1487">
                  <c:v>138.31128496917901</c:v>
                </c:pt>
                <c:pt idx="1488">
                  <c:v>137.21906116642899</c:v>
                </c:pt>
                <c:pt idx="1489">
                  <c:v>135.22996680891401</c:v>
                </c:pt>
                <c:pt idx="1490">
                  <c:v>133.09672830725401</c:v>
                </c:pt>
                <c:pt idx="1491">
                  <c:v>136.116168800379</c:v>
                </c:pt>
                <c:pt idx="1492">
                  <c:v>136.34708392603099</c:v>
                </c:pt>
                <c:pt idx="1493">
                  <c:v>134.47700331910801</c:v>
                </c:pt>
                <c:pt idx="1494">
                  <c:v>133.214556661925</c:v>
                </c:pt>
                <c:pt idx="1495">
                  <c:v>134.824087245139</c:v>
                </c:pt>
                <c:pt idx="1496">
                  <c:v>135.69630156472201</c:v>
                </c:pt>
                <c:pt idx="1497">
                  <c:v>137.57799905168301</c:v>
                </c:pt>
                <c:pt idx="1498">
                  <c:v>137.94049312470301</c:v>
                </c:pt>
                <c:pt idx="1499">
                  <c:v>137.79255571360801</c:v>
                </c:pt>
                <c:pt idx="1500">
                  <c:v>137.22593646277801</c:v>
                </c:pt>
                <c:pt idx="1501">
                  <c:v>137.87577050734899</c:v>
                </c:pt>
                <c:pt idx="1502">
                  <c:v>136.212422949265</c:v>
                </c:pt>
                <c:pt idx="1503">
                  <c:v>133.325509720246</c:v>
                </c:pt>
                <c:pt idx="1504">
                  <c:v>132.396870554765</c:v>
                </c:pt>
                <c:pt idx="1505">
                  <c:v>134.833333333333</c:v>
                </c:pt>
                <c:pt idx="1506">
                  <c:v>138.40516832622001</c:v>
                </c:pt>
                <c:pt idx="1507">
                  <c:v>138.39046941678501</c:v>
                </c:pt>
                <c:pt idx="1508">
                  <c:v>135.51659554291101</c:v>
                </c:pt>
                <c:pt idx="1509">
                  <c:v>135.365576102418</c:v>
                </c:pt>
                <c:pt idx="1510">
                  <c:v>136.73067804646701</c:v>
                </c:pt>
                <c:pt idx="1511">
                  <c:v>136.045993361782</c:v>
                </c:pt>
                <c:pt idx="1512">
                  <c:v>132.97889995258399</c:v>
                </c:pt>
                <c:pt idx="1513">
                  <c:v>131.95874822190601</c:v>
                </c:pt>
                <c:pt idx="1514">
                  <c:v>135.84210526315701</c:v>
                </c:pt>
                <c:pt idx="1515">
                  <c:v>136.56638217164499</c:v>
                </c:pt>
                <c:pt idx="1516">
                  <c:v>137.40303461356001</c:v>
                </c:pt>
                <c:pt idx="1517">
                  <c:v>139.63300142247499</c:v>
                </c:pt>
                <c:pt idx="1518">
                  <c:v>140.85822664770001</c:v>
                </c:pt>
                <c:pt idx="1519">
                  <c:v>139.00758653390201</c:v>
                </c:pt>
                <c:pt idx="1520">
                  <c:v>138.78876244665699</c:v>
                </c:pt>
                <c:pt idx="1521">
                  <c:v>138.93717401612099</c:v>
                </c:pt>
                <c:pt idx="1522">
                  <c:v>138.15718349928801</c:v>
                </c:pt>
                <c:pt idx="1523">
                  <c:v>136.93930772878099</c:v>
                </c:pt>
                <c:pt idx="1524">
                  <c:v>136.11996206732999</c:v>
                </c:pt>
                <c:pt idx="1525">
                  <c:v>136.415125651967</c:v>
                </c:pt>
                <c:pt idx="1526">
                  <c:v>134.510431484115</c:v>
                </c:pt>
                <c:pt idx="1527">
                  <c:v>135.428639165481</c:v>
                </c:pt>
                <c:pt idx="1528">
                  <c:v>137.79160739687001</c:v>
                </c:pt>
                <c:pt idx="1529">
                  <c:v>137.676623992413</c:v>
                </c:pt>
                <c:pt idx="1530">
                  <c:v>136.740161213845</c:v>
                </c:pt>
                <c:pt idx="1531">
                  <c:v>137.585348506401</c:v>
                </c:pt>
                <c:pt idx="1532">
                  <c:v>136.608345187292</c:v>
                </c:pt>
                <c:pt idx="1533">
                  <c:v>134.50023707918399</c:v>
                </c:pt>
                <c:pt idx="1534">
                  <c:v>135.142247510668</c:v>
                </c:pt>
                <c:pt idx="1535">
                  <c:v>137.40350877192901</c:v>
                </c:pt>
                <c:pt idx="1536">
                  <c:v>136.94073020388799</c:v>
                </c:pt>
                <c:pt idx="1537">
                  <c:v>134.69890943575101</c:v>
                </c:pt>
                <c:pt idx="1538">
                  <c:v>134.55381697486899</c:v>
                </c:pt>
                <c:pt idx="1539">
                  <c:v>136.23376007586501</c:v>
                </c:pt>
                <c:pt idx="1540">
                  <c:v>136.70033191085801</c:v>
                </c:pt>
                <c:pt idx="1541">
                  <c:v>136.238027501185</c:v>
                </c:pt>
                <c:pt idx="1542">
                  <c:v>134.03674727358899</c:v>
                </c:pt>
                <c:pt idx="1543">
                  <c:v>133.363679468942</c:v>
                </c:pt>
                <c:pt idx="1544">
                  <c:v>134.86225699383499</c:v>
                </c:pt>
                <c:pt idx="1545">
                  <c:v>136.45139876718801</c:v>
                </c:pt>
                <c:pt idx="1546">
                  <c:v>135.53224276908401</c:v>
                </c:pt>
                <c:pt idx="1547">
                  <c:v>136.27785680417199</c:v>
                </c:pt>
                <c:pt idx="1548">
                  <c:v>137.88975817923099</c:v>
                </c:pt>
                <c:pt idx="1549">
                  <c:v>137.260550023707</c:v>
                </c:pt>
                <c:pt idx="1550">
                  <c:v>138.56472261735399</c:v>
                </c:pt>
                <c:pt idx="1551">
                  <c:v>138.536510194404</c:v>
                </c:pt>
                <c:pt idx="1552">
                  <c:v>139.63371266002801</c:v>
                </c:pt>
                <c:pt idx="1553">
                  <c:v>138.78212422949201</c:v>
                </c:pt>
                <c:pt idx="1554">
                  <c:v>137.68160265528601</c:v>
                </c:pt>
                <c:pt idx="1555">
                  <c:v>137.88359412043599</c:v>
                </c:pt>
                <c:pt idx="1556">
                  <c:v>139.142247510668</c:v>
                </c:pt>
                <c:pt idx="1557">
                  <c:v>139.84732100521501</c:v>
                </c:pt>
                <c:pt idx="1558">
                  <c:v>139.96965386439001</c:v>
                </c:pt>
                <c:pt idx="1559">
                  <c:v>136.81175912754799</c:v>
                </c:pt>
                <c:pt idx="1560">
                  <c:v>138.29611190137501</c:v>
                </c:pt>
                <c:pt idx="1561">
                  <c:v>142.01375059269699</c:v>
                </c:pt>
                <c:pt idx="1562">
                  <c:v>142.37837837837799</c:v>
                </c:pt>
                <c:pt idx="1563">
                  <c:v>139.81958274063501</c:v>
                </c:pt>
                <c:pt idx="1564">
                  <c:v>138.378141299193</c:v>
                </c:pt>
                <c:pt idx="1565">
                  <c:v>137.41370317686099</c:v>
                </c:pt>
                <c:pt idx="1566">
                  <c:v>137.553579895685</c:v>
                </c:pt>
                <c:pt idx="1567">
                  <c:v>137.82171645329501</c:v>
                </c:pt>
                <c:pt idx="1568">
                  <c:v>136.61237553342801</c:v>
                </c:pt>
                <c:pt idx="1569">
                  <c:v>133.59364627785601</c:v>
                </c:pt>
                <c:pt idx="1570">
                  <c:v>133.81033665244101</c:v>
                </c:pt>
                <c:pt idx="1571">
                  <c:v>135.49881460407701</c:v>
                </c:pt>
                <c:pt idx="1572">
                  <c:v>136.245851114272</c:v>
                </c:pt>
                <c:pt idx="1573">
                  <c:v>136.70199146514901</c:v>
                </c:pt>
                <c:pt idx="1574">
                  <c:v>138.137980085348</c:v>
                </c:pt>
                <c:pt idx="1575">
                  <c:v>139.92935040303399</c:v>
                </c:pt>
                <c:pt idx="1576">
                  <c:v>140.091749644381</c:v>
                </c:pt>
                <c:pt idx="1577">
                  <c:v>137.517780938833</c:v>
                </c:pt>
                <c:pt idx="1578">
                  <c:v>137.06709340919801</c:v>
                </c:pt>
                <c:pt idx="1579">
                  <c:v>139.18776671408199</c:v>
                </c:pt>
                <c:pt idx="1580">
                  <c:v>141.271929824561</c:v>
                </c:pt>
                <c:pt idx="1581">
                  <c:v>141.54907539118</c:v>
                </c:pt>
                <c:pt idx="1582">
                  <c:v>140.67117117117101</c:v>
                </c:pt>
                <c:pt idx="1583">
                  <c:v>140.335941204362</c:v>
                </c:pt>
                <c:pt idx="1584">
                  <c:v>139.37790422000899</c:v>
                </c:pt>
                <c:pt idx="1585">
                  <c:v>138.74348032242699</c:v>
                </c:pt>
                <c:pt idx="1586">
                  <c:v>139.55713608345101</c:v>
                </c:pt>
                <c:pt idx="1587">
                  <c:v>140.610004741583</c:v>
                </c:pt>
                <c:pt idx="1588">
                  <c:v>142.36273115220399</c:v>
                </c:pt>
                <c:pt idx="1589">
                  <c:v>142.16263632053099</c:v>
                </c:pt>
                <c:pt idx="1590">
                  <c:v>141.66737790421999</c:v>
                </c:pt>
                <c:pt idx="1591">
                  <c:v>142.47155049786599</c:v>
                </c:pt>
                <c:pt idx="1592">
                  <c:v>142.92128971076301</c:v>
                </c:pt>
                <c:pt idx="1593">
                  <c:v>143.60099573257401</c:v>
                </c:pt>
                <c:pt idx="1594">
                  <c:v>144.926031294452</c:v>
                </c:pt>
                <c:pt idx="1595">
                  <c:v>144.49027975343699</c:v>
                </c:pt>
                <c:pt idx="1596">
                  <c:v>144.256282598387</c:v>
                </c:pt>
                <c:pt idx="1597">
                  <c:v>143.700094831673</c:v>
                </c:pt>
                <c:pt idx="1598">
                  <c:v>144.06614509246</c:v>
                </c:pt>
                <c:pt idx="1599">
                  <c:v>142.63940256045501</c:v>
                </c:pt>
                <c:pt idx="1600">
                  <c:v>142.29824561403501</c:v>
                </c:pt>
                <c:pt idx="1601">
                  <c:v>139.20365101944</c:v>
                </c:pt>
                <c:pt idx="1602">
                  <c:v>138.610478899952</c:v>
                </c:pt>
                <c:pt idx="1603">
                  <c:v>140.150071123755</c:v>
                </c:pt>
                <c:pt idx="1604">
                  <c:v>142.10763394973901</c:v>
                </c:pt>
                <c:pt idx="1605">
                  <c:v>139.979848269321</c:v>
                </c:pt>
                <c:pt idx="1606">
                  <c:v>137.84471313418601</c:v>
                </c:pt>
                <c:pt idx="1607">
                  <c:v>139.53769559032699</c:v>
                </c:pt>
                <c:pt idx="1608">
                  <c:v>142.32147937411</c:v>
                </c:pt>
                <c:pt idx="1609">
                  <c:v>143.83617828354599</c:v>
                </c:pt>
                <c:pt idx="1610">
                  <c:v>142.149596965386</c:v>
                </c:pt>
                <c:pt idx="1611">
                  <c:v>140.62280701754301</c:v>
                </c:pt>
                <c:pt idx="1612">
                  <c:v>142.40706495969599</c:v>
                </c:pt>
                <c:pt idx="1613">
                  <c:v>144.02489331436701</c:v>
                </c:pt>
                <c:pt idx="1614">
                  <c:v>142.79990516832601</c:v>
                </c:pt>
                <c:pt idx="1615">
                  <c:v>142.50094831673701</c:v>
                </c:pt>
                <c:pt idx="1616">
                  <c:v>143.375533428164</c:v>
                </c:pt>
                <c:pt idx="1617">
                  <c:v>147.082266477003</c:v>
                </c:pt>
                <c:pt idx="1618">
                  <c:v>149.091749644381</c:v>
                </c:pt>
                <c:pt idx="1619">
                  <c:v>147.72830725462299</c:v>
                </c:pt>
                <c:pt idx="1620">
                  <c:v>145.05547652915999</c:v>
                </c:pt>
                <c:pt idx="1621">
                  <c:v>143.936462778568</c:v>
                </c:pt>
                <c:pt idx="1622">
                  <c:v>143.08724513987599</c:v>
                </c:pt>
                <c:pt idx="1623">
                  <c:v>143.28117591275401</c:v>
                </c:pt>
                <c:pt idx="1624">
                  <c:v>147.16192508297701</c:v>
                </c:pt>
                <c:pt idx="1625">
                  <c:v>149.597913703176</c:v>
                </c:pt>
                <c:pt idx="1626">
                  <c:v>149.541251778093</c:v>
                </c:pt>
                <c:pt idx="1627">
                  <c:v>149.38051209103801</c:v>
                </c:pt>
                <c:pt idx="1628">
                  <c:v>147.95187292555701</c:v>
                </c:pt>
                <c:pt idx="1629">
                  <c:v>145.650071123755</c:v>
                </c:pt>
                <c:pt idx="1630">
                  <c:v>145.27643432906501</c:v>
                </c:pt>
                <c:pt idx="1631">
                  <c:v>145.00426742531999</c:v>
                </c:pt>
                <c:pt idx="1632">
                  <c:v>146.201043148411</c:v>
                </c:pt>
                <c:pt idx="1633">
                  <c:v>149.285443338074</c:v>
                </c:pt>
                <c:pt idx="1634">
                  <c:v>149.75082977714499</c:v>
                </c:pt>
                <c:pt idx="1635">
                  <c:v>148.858463726884</c:v>
                </c:pt>
                <c:pt idx="1636">
                  <c:v>148.367709815078</c:v>
                </c:pt>
                <c:pt idx="1637">
                  <c:v>149.077050734945</c:v>
                </c:pt>
                <c:pt idx="1638">
                  <c:v>148.44523470839201</c:v>
                </c:pt>
                <c:pt idx="1639">
                  <c:v>148.63157894736801</c:v>
                </c:pt>
                <c:pt idx="1640">
                  <c:v>149.577050734945</c:v>
                </c:pt>
                <c:pt idx="1641">
                  <c:v>149.11356092935</c:v>
                </c:pt>
                <c:pt idx="1642">
                  <c:v>147.412043622569</c:v>
                </c:pt>
                <c:pt idx="1643">
                  <c:v>144.553105737316</c:v>
                </c:pt>
                <c:pt idx="1644">
                  <c:v>145.41702228544301</c:v>
                </c:pt>
                <c:pt idx="1645">
                  <c:v>147.477714556661</c:v>
                </c:pt>
                <c:pt idx="1646">
                  <c:v>148.40303461356001</c:v>
                </c:pt>
                <c:pt idx="1647">
                  <c:v>147.22024656235101</c:v>
                </c:pt>
                <c:pt idx="1648">
                  <c:v>146.99786628733901</c:v>
                </c:pt>
                <c:pt idx="1649">
                  <c:v>145.735893788525</c:v>
                </c:pt>
                <c:pt idx="1650">
                  <c:v>144.58250355618699</c:v>
                </c:pt>
                <c:pt idx="1651">
                  <c:v>147.14366998577501</c:v>
                </c:pt>
                <c:pt idx="1652">
                  <c:v>148.71906116642899</c:v>
                </c:pt>
                <c:pt idx="1653">
                  <c:v>146.12683736367899</c:v>
                </c:pt>
                <c:pt idx="1654">
                  <c:v>144.182788051209</c:v>
                </c:pt>
                <c:pt idx="1655">
                  <c:v>145.17472735893699</c:v>
                </c:pt>
                <c:pt idx="1656">
                  <c:v>147.31721194879</c:v>
                </c:pt>
                <c:pt idx="1657">
                  <c:v>150.04409672830701</c:v>
                </c:pt>
                <c:pt idx="1658">
                  <c:v>148.60763394973901</c:v>
                </c:pt>
                <c:pt idx="1659">
                  <c:v>145.85348506401101</c:v>
                </c:pt>
                <c:pt idx="1660">
                  <c:v>148.20365101944</c:v>
                </c:pt>
                <c:pt idx="1661">
                  <c:v>150.81887150308199</c:v>
                </c:pt>
                <c:pt idx="1662">
                  <c:v>149.494784257942</c:v>
                </c:pt>
                <c:pt idx="1663">
                  <c:v>147.84803224276899</c:v>
                </c:pt>
                <c:pt idx="1664">
                  <c:v>147.43575154101401</c:v>
                </c:pt>
                <c:pt idx="1665">
                  <c:v>147.38003793266901</c:v>
                </c:pt>
                <c:pt idx="1666">
                  <c:v>148.147463252726</c:v>
                </c:pt>
                <c:pt idx="1667">
                  <c:v>150.20175438596399</c:v>
                </c:pt>
                <c:pt idx="1668">
                  <c:v>149.926505452821</c:v>
                </c:pt>
                <c:pt idx="1669">
                  <c:v>147.65647226173499</c:v>
                </c:pt>
                <c:pt idx="1670">
                  <c:v>148.073494547178</c:v>
                </c:pt>
                <c:pt idx="1671">
                  <c:v>148.403745851114</c:v>
                </c:pt>
                <c:pt idx="1672">
                  <c:v>150.120436225699</c:v>
                </c:pt>
                <c:pt idx="1673">
                  <c:v>149.586533902323</c:v>
                </c:pt>
                <c:pt idx="1674">
                  <c:v>146.144381223328</c:v>
                </c:pt>
                <c:pt idx="1675">
                  <c:v>146.43266951161601</c:v>
                </c:pt>
                <c:pt idx="1676">
                  <c:v>146.486486486486</c:v>
                </c:pt>
                <c:pt idx="1677">
                  <c:v>149.49762920815499</c:v>
                </c:pt>
                <c:pt idx="1678">
                  <c:v>149.99881460407701</c:v>
                </c:pt>
                <c:pt idx="1679">
                  <c:v>148.34044570886601</c:v>
                </c:pt>
                <c:pt idx="1680">
                  <c:v>151.274063537221</c:v>
                </c:pt>
                <c:pt idx="1681">
                  <c:v>153.891180654338</c:v>
                </c:pt>
                <c:pt idx="1682">
                  <c:v>153.74466571834901</c:v>
                </c:pt>
                <c:pt idx="1683">
                  <c:v>154.36249407302</c:v>
                </c:pt>
                <c:pt idx="1684">
                  <c:v>152.118776671408</c:v>
                </c:pt>
                <c:pt idx="1685">
                  <c:v>149.86225699383499</c:v>
                </c:pt>
                <c:pt idx="1686">
                  <c:v>149.771929824561</c:v>
                </c:pt>
                <c:pt idx="1687">
                  <c:v>151.97012802275901</c:v>
                </c:pt>
                <c:pt idx="1688">
                  <c:v>154.519914651493</c:v>
                </c:pt>
                <c:pt idx="1689">
                  <c:v>154.94310099573201</c:v>
                </c:pt>
                <c:pt idx="1690">
                  <c:v>153.94049312470301</c:v>
                </c:pt>
                <c:pt idx="1691">
                  <c:v>153.96941678520599</c:v>
                </c:pt>
                <c:pt idx="1692">
                  <c:v>153.43693693693601</c:v>
                </c:pt>
                <c:pt idx="1693">
                  <c:v>153.01137980085301</c:v>
                </c:pt>
                <c:pt idx="1694">
                  <c:v>154.796823138928</c:v>
                </c:pt>
                <c:pt idx="1695">
                  <c:v>155.09625414888501</c:v>
                </c:pt>
                <c:pt idx="1696">
                  <c:v>154.862968231389</c:v>
                </c:pt>
                <c:pt idx="1697">
                  <c:v>154.417733522996</c:v>
                </c:pt>
                <c:pt idx="1698">
                  <c:v>152.578710289236</c:v>
                </c:pt>
                <c:pt idx="1699">
                  <c:v>152.17022285443301</c:v>
                </c:pt>
                <c:pt idx="1700">
                  <c:v>154.29824561403501</c:v>
                </c:pt>
                <c:pt idx="1701">
                  <c:v>158.18918918918899</c:v>
                </c:pt>
                <c:pt idx="1702">
                  <c:v>159.507349454717</c:v>
                </c:pt>
                <c:pt idx="1703">
                  <c:v>158.40896159317199</c:v>
                </c:pt>
                <c:pt idx="1704">
                  <c:v>157.72238027501101</c:v>
                </c:pt>
                <c:pt idx="1705">
                  <c:v>155.526552868658</c:v>
                </c:pt>
                <c:pt idx="1706">
                  <c:v>153.426505452821</c:v>
                </c:pt>
                <c:pt idx="1707">
                  <c:v>152.60810810810801</c:v>
                </c:pt>
                <c:pt idx="1708">
                  <c:v>152.24158368895201</c:v>
                </c:pt>
                <c:pt idx="1709">
                  <c:v>153.59815078236099</c:v>
                </c:pt>
                <c:pt idx="1710">
                  <c:v>155.07420578473199</c:v>
                </c:pt>
                <c:pt idx="1711">
                  <c:v>156.44049312470301</c:v>
                </c:pt>
                <c:pt idx="1712">
                  <c:v>157.655761024182</c:v>
                </c:pt>
                <c:pt idx="1713">
                  <c:v>157.990753911806</c:v>
                </c:pt>
                <c:pt idx="1714">
                  <c:v>156.32361308677</c:v>
                </c:pt>
                <c:pt idx="1715">
                  <c:v>154.96372688477899</c:v>
                </c:pt>
                <c:pt idx="1716">
                  <c:v>155.50758653390201</c:v>
                </c:pt>
                <c:pt idx="1717">
                  <c:v>156.87126600284401</c:v>
                </c:pt>
                <c:pt idx="1718">
                  <c:v>156.49976292081499</c:v>
                </c:pt>
                <c:pt idx="1719">
                  <c:v>153.37102892365999</c:v>
                </c:pt>
                <c:pt idx="1720">
                  <c:v>153.60668563300101</c:v>
                </c:pt>
                <c:pt idx="1721">
                  <c:v>154.34992887624401</c:v>
                </c:pt>
                <c:pt idx="1722">
                  <c:v>156.02347083926</c:v>
                </c:pt>
                <c:pt idx="1723">
                  <c:v>159.59198672356499</c:v>
                </c:pt>
                <c:pt idx="1724">
                  <c:v>160.44144144144099</c:v>
                </c:pt>
                <c:pt idx="1725">
                  <c:v>157.38264580369801</c:v>
                </c:pt>
                <c:pt idx="1726">
                  <c:v>155.402086296823</c:v>
                </c:pt>
                <c:pt idx="1727">
                  <c:v>156.34400189663299</c:v>
                </c:pt>
                <c:pt idx="1728">
                  <c:v>159.365576102418</c:v>
                </c:pt>
                <c:pt idx="1729">
                  <c:v>160.27050734945399</c:v>
                </c:pt>
                <c:pt idx="1730">
                  <c:v>160.988146040777</c:v>
                </c:pt>
                <c:pt idx="1731">
                  <c:v>160.62470365101899</c:v>
                </c:pt>
                <c:pt idx="1732">
                  <c:v>160.57539118065401</c:v>
                </c:pt>
                <c:pt idx="1733">
                  <c:v>161.29468942626801</c:v>
                </c:pt>
                <c:pt idx="1734">
                  <c:v>158.91488857278301</c:v>
                </c:pt>
                <c:pt idx="1735">
                  <c:v>158.34518729255501</c:v>
                </c:pt>
                <c:pt idx="1736">
                  <c:v>157.95708866761399</c:v>
                </c:pt>
                <c:pt idx="1737">
                  <c:v>157.69203413940201</c:v>
                </c:pt>
                <c:pt idx="1738">
                  <c:v>160.27856804172501</c:v>
                </c:pt>
                <c:pt idx="1739">
                  <c:v>161.75011853959199</c:v>
                </c:pt>
                <c:pt idx="1740">
                  <c:v>160.425557136083</c:v>
                </c:pt>
                <c:pt idx="1741">
                  <c:v>156.025130393551</c:v>
                </c:pt>
                <c:pt idx="1742">
                  <c:v>153.398530109056</c:v>
                </c:pt>
                <c:pt idx="1743">
                  <c:v>152.10241820768101</c:v>
                </c:pt>
                <c:pt idx="1744">
                  <c:v>154.02323376007499</c:v>
                </c:pt>
                <c:pt idx="1745">
                  <c:v>156.775960170697</c:v>
                </c:pt>
                <c:pt idx="1746">
                  <c:v>157.52773826457999</c:v>
                </c:pt>
                <c:pt idx="1747">
                  <c:v>157.211000474158</c:v>
                </c:pt>
                <c:pt idx="1748">
                  <c:v>155.52773826457999</c:v>
                </c:pt>
                <c:pt idx="1749">
                  <c:v>156.69179706021799</c:v>
                </c:pt>
                <c:pt idx="1750">
                  <c:v>158.76955903271599</c:v>
                </c:pt>
                <c:pt idx="1751">
                  <c:v>159.274063537221</c:v>
                </c:pt>
                <c:pt idx="1752">
                  <c:v>159.492650545282</c:v>
                </c:pt>
                <c:pt idx="1753">
                  <c:v>158.39355144618301</c:v>
                </c:pt>
                <c:pt idx="1754">
                  <c:v>157.15979137031701</c:v>
                </c:pt>
                <c:pt idx="1755">
                  <c:v>156.31531531531499</c:v>
                </c:pt>
                <c:pt idx="1756">
                  <c:v>155.216216216216</c:v>
                </c:pt>
                <c:pt idx="1757">
                  <c:v>155.391180654338</c:v>
                </c:pt>
                <c:pt idx="1758">
                  <c:v>155.509483167377</c:v>
                </c:pt>
                <c:pt idx="1759">
                  <c:v>158.64864864864799</c:v>
                </c:pt>
                <c:pt idx="1760">
                  <c:v>159.679231863442</c:v>
                </c:pt>
                <c:pt idx="1761">
                  <c:v>158.21503082029301</c:v>
                </c:pt>
                <c:pt idx="1762">
                  <c:v>157.08368895211001</c:v>
                </c:pt>
                <c:pt idx="1763">
                  <c:v>157.85822664770001</c:v>
                </c:pt>
                <c:pt idx="1764">
                  <c:v>157.275960170697</c:v>
                </c:pt>
                <c:pt idx="1765">
                  <c:v>154.82171645329501</c:v>
                </c:pt>
                <c:pt idx="1766">
                  <c:v>155.681839734471</c:v>
                </c:pt>
                <c:pt idx="1767">
                  <c:v>158.09340919867199</c:v>
                </c:pt>
                <c:pt idx="1768">
                  <c:v>157.54030346135599</c:v>
                </c:pt>
                <c:pt idx="1769">
                  <c:v>157.69132290184899</c:v>
                </c:pt>
                <c:pt idx="1770">
                  <c:v>159.488620199146</c:v>
                </c:pt>
                <c:pt idx="1771">
                  <c:v>162.729729729729</c:v>
                </c:pt>
                <c:pt idx="1772">
                  <c:v>165.160502607871</c:v>
                </c:pt>
                <c:pt idx="1773">
                  <c:v>160.89758179231799</c:v>
                </c:pt>
                <c:pt idx="1774">
                  <c:v>156.392840208629</c:v>
                </c:pt>
                <c:pt idx="1775">
                  <c:v>159.39615931721099</c:v>
                </c:pt>
                <c:pt idx="1776">
                  <c:v>163.79397818871499</c:v>
                </c:pt>
                <c:pt idx="1777">
                  <c:v>166.50592697961099</c:v>
                </c:pt>
                <c:pt idx="1778">
                  <c:v>166.115220483641</c:v>
                </c:pt>
                <c:pt idx="1779">
                  <c:v>163.448553816974</c:v>
                </c:pt>
                <c:pt idx="1780">
                  <c:v>162.618302513039</c:v>
                </c:pt>
                <c:pt idx="1781">
                  <c:v>161.20649596965299</c:v>
                </c:pt>
                <c:pt idx="1782">
                  <c:v>158.34495021337099</c:v>
                </c:pt>
                <c:pt idx="1783">
                  <c:v>159.47818871503</c:v>
                </c:pt>
                <c:pt idx="1784">
                  <c:v>161.87624466571799</c:v>
                </c:pt>
                <c:pt idx="1785">
                  <c:v>163.43835941204301</c:v>
                </c:pt>
                <c:pt idx="1786">
                  <c:v>163.80606922712099</c:v>
                </c:pt>
                <c:pt idx="1787">
                  <c:v>163.13940256045501</c:v>
                </c:pt>
                <c:pt idx="1788">
                  <c:v>163.488620199146</c:v>
                </c:pt>
                <c:pt idx="1789">
                  <c:v>161.957325746799</c:v>
                </c:pt>
                <c:pt idx="1790">
                  <c:v>160.643907064959</c:v>
                </c:pt>
                <c:pt idx="1791">
                  <c:v>164.404694167852</c:v>
                </c:pt>
                <c:pt idx="1792">
                  <c:v>167.60099573257401</c:v>
                </c:pt>
                <c:pt idx="1793">
                  <c:v>166.50189663347501</c:v>
                </c:pt>
                <c:pt idx="1794">
                  <c:v>163.27453769559</c:v>
                </c:pt>
                <c:pt idx="1795">
                  <c:v>165.431721194879</c:v>
                </c:pt>
                <c:pt idx="1796">
                  <c:v>169.24134660976699</c:v>
                </c:pt>
                <c:pt idx="1797">
                  <c:v>170.50094831673701</c:v>
                </c:pt>
                <c:pt idx="1798">
                  <c:v>168.084874348032</c:v>
                </c:pt>
                <c:pt idx="1799">
                  <c:v>166.79208155523901</c:v>
                </c:pt>
                <c:pt idx="1800">
                  <c:v>166.648885727833</c:v>
                </c:pt>
                <c:pt idx="1801">
                  <c:v>165.542200094831</c:v>
                </c:pt>
                <c:pt idx="1802">
                  <c:v>165.69464201043101</c:v>
                </c:pt>
                <c:pt idx="1803">
                  <c:v>165.834518729255</c:v>
                </c:pt>
                <c:pt idx="1804">
                  <c:v>167.062588904694</c:v>
                </c:pt>
                <c:pt idx="1805">
                  <c:v>170.50592697961099</c:v>
                </c:pt>
                <c:pt idx="1806">
                  <c:v>171.31958274063501</c:v>
                </c:pt>
                <c:pt idx="1807">
                  <c:v>168.386439070649</c:v>
                </c:pt>
                <c:pt idx="1808">
                  <c:v>165.447368421052</c:v>
                </c:pt>
                <c:pt idx="1809">
                  <c:v>165.857278330962</c:v>
                </c:pt>
                <c:pt idx="1810">
                  <c:v>164.730203888098</c:v>
                </c:pt>
                <c:pt idx="1811">
                  <c:v>168.10502607871001</c:v>
                </c:pt>
                <c:pt idx="1812">
                  <c:v>172.19345661450899</c:v>
                </c:pt>
                <c:pt idx="1813">
                  <c:v>172.665244191559</c:v>
                </c:pt>
                <c:pt idx="1814">
                  <c:v>172.54362256993801</c:v>
                </c:pt>
                <c:pt idx="1815">
                  <c:v>171.677572309151</c:v>
                </c:pt>
                <c:pt idx="1816">
                  <c:v>172.53508771929799</c:v>
                </c:pt>
                <c:pt idx="1817">
                  <c:v>170.93527738264501</c:v>
                </c:pt>
                <c:pt idx="1818">
                  <c:v>173.078236130867</c:v>
                </c:pt>
                <c:pt idx="1819">
                  <c:v>177.18041725936399</c:v>
                </c:pt>
                <c:pt idx="1820">
                  <c:v>176.834518729255</c:v>
                </c:pt>
                <c:pt idx="1821">
                  <c:v>173.83143669985699</c:v>
                </c:pt>
                <c:pt idx="1822">
                  <c:v>173.99146514935899</c:v>
                </c:pt>
                <c:pt idx="1823">
                  <c:v>177.72996680891401</c:v>
                </c:pt>
                <c:pt idx="1824">
                  <c:v>179.47676623992399</c:v>
                </c:pt>
                <c:pt idx="1825">
                  <c:v>178.97060218112799</c:v>
                </c:pt>
                <c:pt idx="1826">
                  <c:v>174.92318634423799</c:v>
                </c:pt>
                <c:pt idx="1827">
                  <c:v>173.430772878141</c:v>
                </c:pt>
                <c:pt idx="1828">
                  <c:v>175.969890943575</c:v>
                </c:pt>
                <c:pt idx="1829">
                  <c:v>175.322427690848</c:v>
                </c:pt>
                <c:pt idx="1830">
                  <c:v>173.00450450450401</c:v>
                </c:pt>
                <c:pt idx="1831">
                  <c:v>176.473447131341</c:v>
                </c:pt>
                <c:pt idx="1832">
                  <c:v>180.17638691322901</c:v>
                </c:pt>
                <c:pt idx="1833">
                  <c:v>180.08297771455599</c:v>
                </c:pt>
                <c:pt idx="1834">
                  <c:v>178.65694642010399</c:v>
                </c:pt>
                <c:pt idx="1835">
                  <c:v>176.15291607396799</c:v>
                </c:pt>
                <c:pt idx="1836">
                  <c:v>173.237553342816</c:v>
                </c:pt>
                <c:pt idx="1837">
                  <c:v>173.555239449976</c:v>
                </c:pt>
                <c:pt idx="1838">
                  <c:v>174.516121384542</c:v>
                </c:pt>
                <c:pt idx="1839">
                  <c:v>173.796823138928</c:v>
                </c:pt>
                <c:pt idx="1840">
                  <c:v>176.560929350403</c:v>
                </c:pt>
                <c:pt idx="1841">
                  <c:v>179.22309151256499</c:v>
                </c:pt>
                <c:pt idx="1842">
                  <c:v>181.677098150782</c:v>
                </c:pt>
                <c:pt idx="1843">
                  <c:v>181.23044096728299</c:v>
                </c:pt>
                <c:pt idx="1844">
                  <c:v>180.45448079658601</c:v>
                </c:pt>
                <c:pt idx="1845">
                  <c:v>179.14912280701699</c:v>
                </c:pt>
                <c:pt idx="1846">
                  <c:v>181.565670934091</c:v>
                </c:pt>
                <c:pt idx="1847">
                  <c:v>181.45234708392601</c:v>
                </c:pt>
                <c:pt idx="1848">
                  <c:v>180.214082503556</c:v>
                </c:pt>
                <c:pt idx="1849">
                  <c:v>182.26481744902699</c:v>
                </c:pt>
                <c:pt idx="1850">
                  <c:v>181.63560929350399</c:v>
                </c:pt>
                <c:pt idx="1851">
                  <c:v>180.160976766239</c:v>
                </c:pt>
                <c:pt idx="1852">
                  <c:v>181.21550497866201</c:v>
                </c:pt>
                <c:pt idx="1853">
                  <c:v>183.13679468942601</c:v>
                </c:pt>
                <c:pt idx="1854">
                  <c:v>182.99596965386399</c:v>
                </c:pt>
                <c:pt idx="1855">
                  <c:v>183.20957799905099</c:v>
                </c:pt>
                <c:pt idx="1856">
                  <c:v>184.23518255097201</c:v>
                </c:pt>
                <c:pt idx="1857">
                  <c:v>187.04836415362701</c:v>
                </c:pt>
                <c:pt idx="1858">
                  <c:v>188.491228070175</c:v>
                </c:pt>
                <c:pt idx="1859">
                  <c:v>186.973447131341</c:v>
                </c:pt>
                <c:pt idx="1860">
                  <c:v>184.20175438596399</c:v>
                </c:pt>
                <c:pt idx="1861">
                  <c:v>183.118302513039</c:v>
                </c:pt>
                <c:pt idx="1862">
                  <c:v>180.052631578947</c:v>
                </c:pt>
                <c:pt idx="1863">
                  <c:v>180.57278330962501</c:v>
                </c:pt>
                <c:pt idx="1864">
                  <c:v>181.573020388809</c:v>
                </c:pt>
                <c:pt idx="1865">
                  <c:v>183.50047415836801</c:v>
                </c:pt>
                <c:pt idx="1866">
                  <c:v>183.66263632053099</c:v>
                </c:pt>
                <c:pt idx="1867">
                  <c:v>182.06353722143101</c:v>
                </c:pt>
                <c:pt idx="1868">
                  <c:v>180.52678994784199</c:v>
                </c:pt>
                <c:pt idx="1869">
                  <c:v>179.97581792318601</c:v>
                </c:pt>
                <c:pt idx="1870">
                  <c:v>178.13987671882401</c:v>
                </c:pt>
                <c:pt idx="1871">
                  <c:v>179.06021811284899</c:v>
                </c:pt>
                <c:pt idx="1872">
                  <c:v>181.79611190137501</c:v>
                </c:pt>
                <c:pt idx="1873">
                  <c:v>180.99834044570801</c:v>
                </c:pt>
                <c:pt idx="1874">
                  <c:v>180.06021811284899</c:v>
                </c:pt>
                <c:pt idx="1875">
                  <c:v>178.69464201043101</c:v>
                </c:pt>
                <c:pt idx="1876">
                  <c:v>178.57420578473199</c:v>
                </c:pt>
                <c:pt idx="1877">
                  <c:v>178.30488383119899</c:v>
                </c:pt>
                <c:pt idx="1878">
                  <c:v>178.50853485063999</c:v>
                </c:pt>
                <c:pt idx="1879">
                  <c:v>179.00900900900899</c:v>
                </c:pt>
                <c:pt idx="1880">
                  <c:v>182.04409672830701</c:v>
                </c:pt>
                <c:pt idx="1881">
                  <c:v>184.80535798956799</c:v>
                </c:pt>
                <c:pt idx="1882">
                  <c:v>184.789710763394</c:v>
                </c:pt>
                <c:pt idx="1883">
                  <c:v>184.716690374585</c:v>
                </c:pt>
                <c:pt idx="1884">
                  <c:v>183.70199146514901</c:v>
                </c:pt>
                <c:pt idx="1885">
                  <c:v>181.64035087719199</c:v>
                </c:pt>
                <c:pt idx="1886">
                  <c:v>181.03816974869599</c:v>
                </c:pt>
                <c:pt idx="1887">
                  <c:v>182.10455192034101</c:v>
                </c:pt>
                <c:pt idx="1888">
                  <c:v>181.75486012328099</c:v>
                </c:pt>
                <c:pt idx="1889">
                  <c:v>183.795400663821</c:v>
                </c:pt>
                <c:pt idx="1890">
                  <c:v>185.20293978188701</c:v>
                </c:pt>
                <c:pt idx="1891">
                  <c:v>182.261024182076</c:v>
                </c:pt>
                <c:pt idx="1892">
                  <c:v>181.636083451872</c:v>
                </c:pt>
                <c:pt idx="1893">
                  <c:v>183.02110004741499</c:v>
                </c:pt>
                <c:pt idx="1894">
                  <c:v>183.08629682313801</c:v>
                </c:pt>
                <c:pt idx="1895">
                  <c:v>179.948079658605</c:v>
                </c:pt>
                <c:pt idx="1896">
                  <c:v>177.63063063063001</c:v>
                </c:pt>
                <c:pt idx="1897">
                  <c:v>176.77643432906501</c:v>
                </c:pt>
                <c:pt idx="1898">
                  <c:v>174.16595542911301</c:v>
                </c:pt>
                <c:pt idx="1899">
                  <c:v>175.25699383594099</c:v>
                </c:pt>
                <c:pt idx="1900">
                  <c:v>177.47534376481701</c:v>
                </c:pt>
                <c:pt idx="1901">
                  <c:v>177.104314841156</c:v>
                </c:pt>
                <c:pt idx="1902">
                  <c:v>178.060929350403</c:v>
                </c:pt>
                <c:pt idx="1903">
                  <c:v>180.12494073020301</c:v>
                </c:pt>
                <c:pt idx="1904">
                  <c:v>182.244902797534</c:v>
                </c:pt>
                <c:pt idx="1905">
                  <c:v>182.65955429113299</c:v>
                </c:pt>
                <c:pt idx="1906">
                  <c:v>181.346372688477</c:v>
                </c:pt>
                <c:pt idx="1907">
                  <c:v>181.238027501185</c:v>
                </c:pt>
                <c:pt idx="1908">
                  <c:v>182.073020388809</c:v>
                </c:pt>
                <c:pt idx="1909">
                  <c:v>183.577050734945</c:v>
                </c:pt>
                <c:pt idx="1910">
                  <c:v>184.449976292081</c:v>
                </c:pt>
                <c:pt idx="1911">
                  <c:v>184.521811284969</c:v>
                </c:pt>
                <c:pt idx="1912">
                  <c:v>184.395922238027</c:v>
                </c:pt>
                <c:pt idx="1913">
                  <c:v>184.28473210052101</c:v>
                </c:pt>
                <c:pt idx="1914">
                  <c:v>184.892128971076</c:v>
                </c:pt>
                <c:pt idx="1915">
                  <c:v>186.945945945945</c:v>
                </c:pt>
                <c:pt idx="1916">
                  <c:v>185.62683736367899</c:v>
                </c:pt>
                <c:pt idx="1917">
                  <c:v>182.93243243243199</c:v>
                </c:pt>
                <c:pt idx="1918">
                  <c:v>185.18207681365499</c:v>
                </c:pt>
                <c:pt idx="1919">
                  <c:v>185.77690848743401</c:v>
                </c:pt>
                <c:pt idx="1920">
                  <c:v>186.719298245614</c:v>
                </c:pt>
                <c:pt idx="1921">
                  <c:v>186.026078710289</c:v>
                </c:pt>
                <c:pt idx="1922">
                  <c:v>185.98790896159301</c:v>
                </c:pt>
                <c:pt idx="1923">
                  <c:v>183.719298245614</c:v>
                </c:pt>
                <c:pt idx="1924">
                  <c:v>184.44760550023699</c:v>
                </c:pt>
                <c:pt idx="1925">
                  <c:v>188.07586533902301</c:v>
                </c:pt>
                <c:pt idx="1926">
                  <c:v>187.97889995258399</c:v>
                </c:pt>
                <c:pt idx="1927">
                  <c:v>186.711000474158</c:v>
                </c:pt>
                <c:pt idx="1928">
                  <c:v>188.64035087719199</c:v>
                </c:pt>
                <c:pt idx="1929">
                  <c:v>190.328591749644</c:v>
                </c:pt>
                <c:pt idx="1930">
                  <c:v>190.51066856329999</c:v>
                </c:pt>
                <c:pt idx="1931">
                  <c:v>189.65718349928801</c:v>
                </c:pt>
                <c:pt idx="1932">
                  <c:v>187.80606922712099</c:v>
                </c:pt>
                <c:pt idx="1933">
                  <c:v>187.48032242769</c:v>
                </c:pt>
                <c:pt idx="1934">
                  <c:v>189.98150782361299</c:v>
                </c:pt>
                <c:pt idx="1935">
                  <c:v>189.681365576102</c:v>
                </c:pt>
                <c:pt idx="1936">
                  <c:v>188.73944997629201</c:v>
                </c:pt>
                <c:pt idx="1937">
                  <c:v>191.27951635846301</c:v>
                </c:pt>
                <c:pt idx="1938">
                  <c:v>194.670934091986</c:v>
                </c:pt>
                <c:pt idx="1939">
                  <c:v>196.88359412043599</c:v>
                </c:pt>
                <c:pt idx="1940">
                  <c:v>193.50972024656201</c:v>
                </c:pt>
                <c:pt idx="1941">
                  <c:v>189.705310573731</c:v>
                </c:pt>
                <c:pt idx="1942">
                  <c:v>186.24039829302899</c:v>
                </c:pt>
                <c:pt idx="1943">
                  <c:v>182.91085822664701</c:v>
                </c:pt>
                <c:pt idx="1944">
                  <c:v>180.92271218587001</c:v>
                </c:pt>
                <c:pt idx="1945">
                  <c:v>185.68563300142199</c:v>
                </c:pt>
                <c:pt idx="1946">
                  <c:v>188.55073494547099</c:v>
                </c:pt>
                <c:pt idx="1947">
                  <c:v>188.012565196775</c:v>
                </c:pt>
                <c:pt idx="1948">
                  <c:v>187.672356567093</c:v>
                </c:pt>
                <c:pt idx="1949">
                  <c:v>188.88952110004701</c:v>
                </c:pt>
                <c:pt idx="1950">
                  <c:v>187.95353247984801</c:v>
                </c:pt>
                <c:pt idx="1951">
                  <c:v>186.04030346135599</c:v>
                </c:pt>
                <c:pt idx="1952">
                  <c:v>185.24442863916499</c:v>
                </c:pt>
                <c:pt idx="1953">
                  <c:v>185.79966808914099</c:v>
                </c:pt>
                <c:pt idx="1954">
                  <c:v>185.65884305357901</c:v>
                </c:pt>
                <c:pt idx="1955">
                  <c:v>185.06164058795599</c:v>
                </c:pt>
                <c:pt idx="1956">
                  <c:v>186.40706495969599</c:v>
                </c:pt>
                <c:pt idx="1957">
                  <c:v>186.948553816974</c:v>
                </c:pt>
                <c:pt idx="1958">
                  <c:v>186.03271692745301</c:v>
                </c:pt>
                <c:pt idx="1959">
                  <c:v>184.04765291607299</c:v>
                </c:pt>
                <c:pt idx="1960">
                  <c:v>184.51635846372599</c:v>
                </c:pt>
                <c:pt idx="1961">
                  <c:v>188.90967283072499</c:v>
                </c:pt>
                <c:pt idx="1962">
                  <c:v>189.150071123755</c:v>
                </c:pt>
                <c:pt idx="1963">
                  <c:v>185.455666192508</c:v>
                </c:pt>
                <c:pt idx="1964">
                  <c:v>185.34660976766199</c:v>
                </c:pt>
                <c:pt idx="1965">
                  <c:v>185.961593172119</c:v>
                </c:pt>
                <c:pt idx="1966">
                  <c:v>185.56804172593601</c:v>
                </c:pt>
                <c:pt idx="1967">
                  <c:v>184.77216690374499</c:v>
                </c:pt>
                <c:pt idx="1968">
                  <c:v>183.195353247984</c:v>
                </c:pt>
                <c:pt idx="1969">
                  <c:v>182.44784257942101</c:v>
                </c:pt>
                <c:pt idx="1970">
                  <c:v>184.65481270744399</c:v>
                </c:pt>
                <c:pt idx="1971">
                  <c:v>186.31057373162599</c:v>
                </c:pt>
                <c:pt idx="1972">
                  <c:v>188.292318634423</c:v>
                </c:pt>
                <c:pt idx="1973">
                  <c:v>189.03271692745301</c:v>
                </c:pt>
                <c:pt idx="1974">
                  <c:v>188.25343764817401</c:v>
                </c:pt>
                <c:pt idx="1975">
                  <c:v>187.60644855381599</c:v>
                </c:pt>
                <c:pt idx="1976">
                  <c:v>187.687055476529</c:v>
                </c:pt>
                <c:pt idx="1977">
                  <c:v>186.69724988146001</c:v>
                </c:pt>
                <c:pt idx="1978">
                  <c:v>185.21740161213799</c:v>
                </c:pt>
                <c:pt idx="1979">
                  <c:v>187.32313892840199</c:v>
                </c:pt>
                <c:pt idx="1980">
                  <c:v>192.59032716927399</c:v>
                </c:pt>
                <c:pt idx="1981">
                  <c:v>193.172356567093</c:v>
                </c:pt>
                <c:pt idx="1982">
                  <c:v>192.17638691322901</c:v>
                </c:pt>
                <c:pt idx="1983">
                  <c:v>190.463489805595</c:v>
                </c:pt>
                <c:pt idx="1984">
                  <c:v>189.27050734945399</c:v>
                </c:pt>
                <c:pt idx="1985">
                  <c:v>192.27785680417199</c:v>
                </c:pt>
                <c:pt idx="1986">
                  <c:v>192.94215267899401</c:v>
                </c:pt>
                <c:pt idx="1987">
                  <c:v>191.09625414888501</c:v>
                </c:pt>
                <c:pt idx="1988">
                  <c:v>190.06851588430499</c:v>
                </c:pt>
                <c:pt idx="1989">
                  <c:v>191.992650545282</c:v>
                </c:pt>
                <c:pt idx="1990">
                  <c:v>193.64461830251301</c:v>
                </c:pt>
                <c:pt idx="1991">
                  <c:v>193.98316737790401</c:v>
                </c:pt>
                <c:pt idx="1992">
                  <c:v>195.233997155049</c:v>
                </c:pt>
                <c:pt idx="1993">
                  <c:v>195.55097202465601</c:v>
                </c:pt>
                <c:pt idx="1994">
                  <c:v>193.60644855381599</c:v>
                </c:pt>
                <c:pt idx="1995">
                  <c:v>190.67638691322901</c:v>
                </c:pt>
                <c:pt idx="1996">
                  <c:v>189.85822664770001</c:v>
                </c:pt>
                <c:pt idx="1997">
                  <c:v>192.92152678994699</c:v>
                </c:pt>
                <c:pt idx="1998">
                  <c:v>196.57894736842101</c:v>
                </c:pt>
                <c:pt idx="1999">
                  <c:v>197.30654338548999</c:v>
                </c:pt>
                <c:pt idx="2000">
                  <c:v>192.736605026078</c:v>
                </c:pt>
                <c:pt idx="2001">
                  <c:v>192.77619724988099</c:v>
                </c:pt>
                <c:pt idx="2002">
                  <c:v>194.53982930298699</c:v>
                </c:pt>
                <c:pt idx="2003">
                  <c:v>195.15647226173499</c:v>
                </c:pt>
                <c:pt idx="2004">
                  <c:v>195.37577050734899</c:v>
                </c:pt>
                <c:pt idx="2005">
                  <c:v>196.513039355144</c:v>
                </c:pt>
                <c:pt idx="2006">
                  <c:v>197.105263157894</c:v>
                </c:pt>
                <c:pt idx="2007">
                  <c:v>196.74917022285399</c:v>
                </c:pt>
                <c:pt idx="2008">
                  <c:v>196.85656709340901</c:v>
                </c:pt>
                <c:pt idx="2009">
                  <c:v>199.98150782361299</c:v>
                </c:pt>
                <c:pt idx="2010">
                  <c:v>203.202702702702</c:v>
                </c:pt>
                <c:pt idx="2011">
                  <c:v>204.441678520625</c:v>
                </c:pt>
                <c:pt idx="2012">
                  <c:v>206.096965386439</c:v>
                </c:pt>
                <c:pt idx="2013">
                  <c:v>207.053579895685</c:v>
                </c:pt>
                <c:pt idx="2014">
                  <c:v>205.331199620673</c:v>
                </c:pt>
                <c:pt idx="2015">
                  <c:v>207.24869606448499</c:v>
                </c:pt>
                <c:pt idx="2016">
                  <c:v>211.734471313418</c:v>
                </c:pt>
                <c:pt idx="2017">
                  <c:v>207.26220957799899</c:v>
                </c:pt>
                <c:pt idx="2018">
                  <c:v>201.94049312470301</c:v>
                </c:pt>
                <c:pt idx="2019">
                  <c:v>202.763632053105</c:v>
                </c:pt>
                <c:pt idx="2020">
                  <c:v>201.015647226173</c:v>
                </c:pt>
                <c:pt idx="2021">
                  <c:v>203.38999525841601</c:v>
                </c:pt>
                <c:pt idx="2022">
                  <c:v>204.616642958748</c:v>
                </c:pt>
                <c:pt idx="2023">
                  <c:v>201.778093883357</c:v>
                </c:pt>
                <c:pt idx="2024">
                  <c:v>197.695353247984</c:v>
                </c:pt>
                <c:pt idx="2025">
                  <c:v>194.148885727833</c:v>
                </c:pt>
                <c:pt idx="2026">
                  <c:v>194.38169748696001</c:v>
                </c:pt>
                <c:pt idx="2027">
                  <c:v>197.43314366998499</c:v>
                </c:pt>
                <c:pt idx="2028">
                  <c:v>203.16429587482199</c:v>
                </c:pt>
                <c:pt idx="2029">
                  <c:v>204.23636794689401</c:v>
                </c:pt>
                <c:pt idx="2030">
                  <c:v>199.88620199146499</c:v>
                </c:pt>
                <c:pt idx="2031">
                  <c:v>198.71076339497299</c:v>
                </c:pt>
                <c:pt idx="2032">
                  <c:v>200.43930772878099</c:v>
                </c:pt>
                <c:pt idx="2033">
                  <c:v>199.79350403034601</c:v>
                </c:pt>
                <c:pt idx="2034">
                  <c:v>198.42911332385</c:v>
                </c:pt>
                <c:pt idx="2035">
                  <c:v>197.81555239449901</c:v>
                </c:pt>
                <c:pt idx="2036">
                  <c:v>198.42840208629599</c:v>
                </c:pt>
                <c:pt idx="2037">
                  <c:v>202.715742057847</c:v>
                </c:pt>
                <c:pt idx="2038">
                  <c:v>206.648411569464</c:v>
                </c:pt>
                <c:pt idx="2039">
                  <c:v>206.00379326695099</c:v>
                </c:pt>
                <c:pt idx="2040">
                  <c:v>203.356804172593</c:v>
                </c:pt>
                <c:pt idx="2041">
                  <c:v>201.69772403982901</c:v>
                </c:pt>
                <c:pt idx="2042">
                  <c:v>202.40232337600699</c:v>
                </c:pt>
                <c:pt idx="2043">
                  <c:v>202.09672830725401</c:v>
                </c:pt>
                <c:pt idx="2044">
                  <c:v>196.45969653864299</c:v>
                </c:pt>
                <c:pt idx="2045">
                  <c:v>194.15552394499699</c:v>
                </c:pt>
                <c:pt idx="2046">
                  <c:v>196.58250355618699</c:v>
                </c:pt>
                <c:pt idx="2047">
                  <c:v>196.90279753437599</c:v>
                </c:pt>
                <c:pt idx="2048">
                  <c:v>196.75154101469801</c:v>
                </c:pt>
                <c:pt idx="2049">
                  <c:v>195.449502133712</c:v>
                </c:pt>
                <c:pt idx="2050">
                  <c:v>193.854196301564</c:v>
                </c:pt>
                <c:pt idx="2051">
                  <c:v>192.72166903745801</c:v>
                </c:pt>
                <c:pt idx="2052">
                  <c:v>196.41370317686099</c:v>
                </c:pt>
                <c:pt idx="2053">
                  <c:v>199.58250355618699</c:v>
                </c:pt>
                <c:pt idx="2054">
                  <c:v>198.43480322427601</c:v>
                </c:pt>
                <c:pt idx="2055">
                  <c:v>198.207444286391</c:v>
                </c:pt>
                <c:pt idx="2056">
                  <c:v>202.54291133238499</c:v>
                </c:pt>
                <c:pt idx="2057">
                  <c:v>203.83736367946801</c:v>
                </c:pt>
                <c:pt idx="2058">
                  <c:v>205.6844476055</c:v>
                </c:pt>
                <c:pt idx="2059">
                  <c:v>202.43527738264501</c:v>
                </c:pt>
                <c:pt idx="2060">
                  <c:v>196.615220483641</c:v>
                </c:pt>
                <c:pt idx="2061">
                  <c:v>195.29658605974299</c:v>
                </c:pt>
                <c:pt idx="2062">
                  <c:v>198.65173067804599</c:v>
                </c:pt>
                <c:pt idx="2063">
                  <c:v>200.29208155523901</c:v>
                </c:pt>
                <c:pt idx="2064">
                  <c:v>196.12707444286301</c:v>
                </c:pt>
                <c:pt idx="2065">
                  <c:v>194.69084874347999</c:v>
                </c:pt>
                <c:pt idx="2066">
                  <c:v>196.454243717401</c:v>
                </c:pt>
                <c:pt idx="2067">
                  <c:v>197.414651493598</c:v>
                </c:pt>
                <c:pt idx="2068">
                  <c:v>199.86676149834</c:v>
                </c:pt>
                <c:pt idx="2069">
                  <c:v>200.75082977714499</c:v>
                </c:pt>
                <c:pt idx="2070">
                  <c:v>199.244191559981</c:v>
                </c:pt>
                <c:pt idx="2071">
                  <c:v>196.83167377904201</c:v>
                </c:pt>
                <c:pt idx="2072">
                  <c:v>193.65860597439499</c:v>
                </c:pt>
                <c:pt idx="2073">
                  <c:v>191.24205784732101</c:v>
                </c:pt>
                <c:pt idx="2074">
                  <c:v>191.61901375059199</c:v>
                </c:pt>
                <c:pt idx="2075">
                  <c:v>195.49786628733901</c:v>
                </c:pt>
                <c:pt idx="2076">
                  <c:v>197.131816026552</c:v>
                </c:pt>
                <c:pt idx="2077">
                  <c:v>197.953295400663</c:v>
                </c:pt>
                <c:pt idx="2078">
                  <c:v>200.25414888572701</c:v>
                </c:pt>
                <c:pt idx="2079">
                  <c:v>200.640113798008</c:v>
                </c:pt>
                <c:pt idx="2080">
                  <c:v>202.06970128022701</c:v>
                </c:pt>
                <c:pt idx="2081">
                  <c:v>202.47321005215699</c:v>
                </c:pt>
                <c:pt idx="2082">
                  <c:v>201.25391180654299</c:v>
                </c:pt>
                <c:pt idx="2083">
                  <c:v>202.843764817449</c:v>
                </c:pt>
                <c:pt idx="2084">
                  <c:v>203.47724039829299</c:v>
                </c:pt>
                <c:pt idx="2085">
                  <c:v>205.237553342816</c:v>
                </c:pt>
                <c:pt idx="2086">
                  <c:v>205.40327169274499</c:v>
                </c:pt>
                <c:pt idx="2087">
                  <c:v>206.084874348032</c:v>
                </c:pt>
                <c:pt idx="2088">
                  <c:v>205.931721194879</c:v>
                </c:pt>
                <c:pt idx="2089">
                  <c:v>205.16903745851101</c:v>
                </c:pt>
                <c:pt idx="2090">
                  <c:v>207.266714082503</c:v>
                </c:pt>
                <c:pt idx="2091">
                  <c:v>206.296823138928</c:v>
                </c:pt>
                <c:pt idx="2092">
                  <c:v>203.902560455192</c:v>
                </c:pt>
                <c:pt idx="2093">
                  <c:v>204.015173067804</c:v>
                </c:pt>
                <c:pt idx="2094">
                  <c:v>205.29302987197701</c:v>
                </c:pt>
                <c:pt idx="2095">
                  <c:v>203.45187292555701</c:v>
                </c:pt>
                <c:pt idx="2096">
                  <c:v>202.09222380275</c:v>
                </c:pt>
                <c:pt idx="2097">
                  <c:v>206.200568990042</c:v>
                </c:pt>
                <c:pt idx="2098">
                  <c:v>206.94049312470301</c:v>
                </c:pt>
                <c:pt idx="2099">
                  <c:v>204.33902323376</c:v>
                </c:pt>
                <c:pt idx="2100">
                  <c:v>203.499525841631</c:v>
                </c:pt>
                <c:pt idx="2101">
                  <c:v>205.87648174490201</c:v>
                </c:pt>
                <c:pt idx="2102">
                  <c:v>201.438122332859</c:v>
                </c:pt>
                <c:pt idx="2103">
                  <c:v>199.51541014698901</c:v>
                </c:pt>
                <c:pt idx="2104">
                  <c:v>200.266714082503</c:v>
                </c:pt>
                <c:pt idx="2105">
                  <c:v>197.83712660028399</c:v>
                </c:pt>
                <c:pt idx="2106">
                  <c:v>196.31839734471299</c:v>
                </c:pt>
                <c:pt idx="2107">
                  <c:v>198.80488383119899</c:v>
                </c:pt>
                <c:pt idx="2108">
                  <c:v>198.541725936462</c:v>
                </c:pt>
                <c:pt idx="2109">
                  <c:v>197.643907064959</c:v>
                </c:pt>
                <c:pt idx="2110">
                  <c:v>197.45021337126599</c:v>
                </c:pt>
                <c:pt idx="2111">
                  <c:v>197.02750118539501</c:v>
                </c:pt>
                <c:pt idx="2112">
                  <c:v>195.53816974869599</c:v>
                </c:pt>
                <c:pt idx="2113">
                  <c:v>194.206258890469</c:v>
                </c:pt>
                <c:pt idx="2114">
                  <c:v>194.14129919393</c:v>
                </c:pt>
                <c:pt idx="2115">
                  <c:v>194.01114272166899</c:v>
                </c:pt>
                <c:pt idx="2116">
                  <c:v>195.77240398293</c:v>
                </c:pt>
                <c:pt idx="2117">
                  <c:v>199.891654812707</c:v>
                </c:pt>
                <c:pt idx="2118">
                  <c:v>199.750592697961</c:v>
                </c:pt>
                <c:pt idx="2119">
                  <c:v>203.15718349928801</c:v>
                </c:pt>
                <c:pt idx="2120">
                  <c:v>206.683262209578</c:v>
                </c:pt>
                <c:pt idx="2121">
                  <c:v>208.12897107633901</c:v>
                </c:pt>
                <c:pt idx="2122">
                  <c:v>203.67638691322901</c:v>
                </c:pt>
                <c:pt idx="2123">
                  <c:v>201.96111901374999</c:v>
                </c:pt>
                <c:pt idx="2124">
                  <c:v>203.96870554765201</c:v>
                </c:pt>
                <c:pt idx="2125">
                  <c:v>206.026078710289</c:v>
                </c:pt>
                <c:pt idx="2126">
                  <c:v>205.17852062588901</c:v>
                </c:pt>
                <c:pt idx="2127">
                  <c:v>203.211948790896</c:v>
                </c:pt>
                <c:pt idx="2128">
                  <c:v>199.488146040777</c:v>
                </c:pt>
                <c:pt idx="2129">
                  <c:v>197.05334281649999</c:v>
                </c:pt>
                <c:pt idx="2130">
                  <c:v>196.769321953532</c:v>
                </c:pt>
                <c:pt idx="2131">
                  <c:v>198.12517780938799</c:v>
                </c:pt>
                <c:pt idx="2132">
                  <c:v>201.166666666666</c:v>
                </c:pt>
                <c:pt idx="2133">
                  <c:v>201.09862494072999</c:v>
                </c:pt>
                <c:pt idx="2134">
                  <c:v>200.334518729255</c:v>
                </c:pt>
                <c:pt idx="2135">
                  <c:v>201.359412043622</c:v>
                </c:pt>
                <c:pt idx="2136">
                  <c:v>201.32598387861501</c:v>
                </c:pt>
                <c:pt idx="2137">
                  <c:v>200.26220957799899</c:v>
                </c:pt>
                <c:pt idx="2138">
                  <c:v>198.292318634423</c:v>
                </c:pt>
                <c:pt idx="2139">
                  <c:v>199.006875296348</c:v>
                </c:pt>
                <c:pt idx="2140">
                  <c:v>201.11237553342801</c:v>
                </c:pt>
                <c:pt idx="2141">
                  <c:v>200.985538169748</c:v>
                </c:pt>
                <c:pt idx="2142">
                  <c:v>199.071360834518</c:v>
                </c:pt>
                <c:pt idx="2143">
                  <c:v>197.206733048838</c:v>
                </c:pt>
                <c:pt idx="2144">
                  <c:v>195.64201043148401</c:v>
                </c:pt>
                <c:pt idx="2145">
                  <c:v>197.94096728307201</c:v>
                </c:pt>
                <c:pt idx="2146">
                  <c:v>199.869843527738</c:v>
                </c:pt>
                <c:pt idx="2147">
                  <c:v>200.49596965386399</c:v>
                </c:pt>
                <c:pt idx="2148">
                  <c:v>199.75533428164999</c:v>
                </c:pt>
                <c:pt idx="2149">
                  <c:v>199.35040303461301</c:v>
                </c:pt>
                <c:pt idx="2150">
                  <c:v>200.22475106685599</c:v>
                </c:pt>
                <c:pt idx="2151">
                  <c:v>201.695353247984</c:v>
                </c:pt>
                <c:pt idx="2152">
                  <c:v>206.800616405879</c:v>
                </c:pt>
                <c:pt idx="2153">
                  <c:v>209.992650545282</c:v>
                </c:pt>
                <c:pt idx="2154">
                  <c:v>210.740635372214</c:v>
                </c:pt>
                <c:pt idx="2155">
                  <c:v>212.116642958748</c:v>
                </c:pt>
                <c:pt idx="2156">
                  <c:v>210.19155998103301</c:v>
                </c:pt>
                <c:pt idx="2157">
                  <c:v>204.97439544807901</c:v>
                </c:pt>
                <c:pt idx="2158">
                  <c:v>202.93575154101401</c:v>
                </c:pt>
                <c:pt idx="2159">
                  <c:v>203.70815552394501</c:v>
                </c:pt>
                <c:pt idx="2160">
                  <c:v>206.170934091986</c:v>
                </c:pt>
                <c:pt idx="2161">
                  <c:v>204.999525841631</c:v>
                </c:pt>
                <c:pt idx="2162">
                  <c:v>205.35751541014599</c:v>
                </c:pt>
                <c:pt idx="2163">
                  <c:v>206.34542437173999</c:v>
                </c:pt>
                <c:pt idx="2164">
                  <c:v>206.418918918918</c:v>
                </c:pt>
                <c:pt idx="2165">
                  <c:v>208.264106211474</c:v>
                </c:pt>
                <c:pt idx="2166">
                  <c:v>208.917733522996</c:v>
                </c:pt>
                <c:pt idx="2167">
                  <c:v>207.35704125177801</c:v>
                </c:pt>
                <c:pt idx="2168">
                  <c:v>206.740635372214</c:v>
                </c:pt>
                <c:pt idx="2169">
                  <c:v>207.50071123755299</c:v>
                </c:pt>
                <c:pt idx="2170">
                  <c:v>205.538643907064</c:v>
                </c:pt>
                <c:pt idx="2171">
                  <c:v>208.674964438122</c:v>
                </c:pt>
                <c:pt idx="2172">
                  <c:v>210.260550023707</c:v>
                </c:pt>
                <c:pt idx="2173">
                  <c:v>207.11379800853399</c:v>
                </c:pt>
                <c:pt idx="2174">
                  <c:v>204.72238027501101</c:v>
                </c:pt>
                <c:pt idx="2175">
                  <c:v>205.70910384068199</c:v>
                </c:pt>
                <c:pt idx="2176">
                  <c:v>207.02204836415299</c:v>
                </c:pt>
                <c:pt idx="2177">
                  <c:v>208.34329065908</c:v>
                </c:pt>
                <c:pt idx="2178">
                  <c:v>207.10028449502099</c:v>
                </c:pt>
                <c:pt idx="2179">
                  <c:v>207.22688477951601</c:v>
                </c:pt>
                <c:pt idx="2180">
                  <c:v>205.05642484589799</c:v>
                </c:pt>
                <c:pt idx="2181">
                  <c:v>202.578236130867</c:v>
                </c:pt>
                <c:pt idx="2182">
                  <c:v>202.26268373636699</c:v>
                </c:pt>
                <c:pt idx="2183">
                  <c:v>203.36652441915601</c:v>
                </c:pt>
                <c:pt idx="2184">
                  <c:v>202.67472735893699</c:v>
                </c:pt>
                <c:pt idx="2185">
                  <c:v>200.15386439070599</c:v>
                </c:pt>
                <c:pt idx="2186">
                  <c:v>201.72332859174901</c:v>
                </c:pt>
                <c:pt idx="2187">
                  <c:v>202.256282598387</c:v>
                </c:pt>
                <c:pt idx="2188">
                  <c:v>202.84115694642</c:v>
                </c:pt>
                <c:pt idx="2189">
                  <c:v>203.69369369369301</c:v>
                </c:pt>
                <c:pt idx="2190">
                  <c:v>203.45400663821701</c:v>
                </c:pt>
                <c:pt idx="2191">
                  <c:v>204.553105737316</c:v>
                </c:pt>
                <c:pt idx="2192">
                  <c:v>204.53935514461801</c:v>
                </c:pt>
                <c:pt idx="2193">
                  <c:v>206.12256993835899</c:v>
                </c:pt>
                <c:pt idx="2194">
                  <c:v>206.06970128022701</c:v>
                </c:pt>
                <c:pt idx="2195">
                  <c:v>206.76481744902699</c:v>
                </c:pt>
                <c:pt idx="2196">
                  <c:v>206.29800853485</c:v>
                </c:pt>
                <c:pt idx="2197">
                  <c:v>209.72783309625399</c:v>
                </c:pt>
                <c:pt idx="2198">
                  <c:v>211.61190137505901</c:v>
                </c:pt>
                <c:pt idx="2199">
                  <c:v>207.441204362256</c:v>
                </c:pt>
                <c:pt idx="2200">
                  <c:v>203.899004267425</c:v>
                </c:pt>
                <c:pt idx="2201">
                  <c:v>205.863679468942</c:v>
                </c:pt>
                <c:pt idx="2202">
                  <c:v>208.682788051209</c:v>
                </c:pt>
                <c:pt idx="2203">
                  <c:v>211.12802275960101</c:v>
                </c:pt>
                <c:pt idx="2204">
                  <c:v>209.065196775723</c:v>
                </c:pt>
                <c:pt idx="2205">
                  <c:v>208.04504504504499</c:v>
                </c:pt>
                <c:pt idx="2206">
                  <c:v>206.34400189663299</c:v>
                </c:pt>
                <c:pt idx="2207">
                  <c:v>208.52204836415299</c:v>
                </c:pt>
                <c:pt idx="2208">
                  <c:v>209.073020388809</c:v>
                </c:pt>
                <c:pt idx="2209">
                  <c:v>209.59317211948701</c:v>
                </c:pt>
                <c:pt idx="2210">
                  <c:v>213.22735893788499</c:v>
                </c:pt>
                <c:pt idx="2211">
                  <c:v>214.83949739212801</c:v>
                </c:pt>
                <c:pt idx="2212">
                  <c:v>212.40825035561801</c:v>
                </c:pt>
                <c:pt idx="2213">
                  <c:v>211.645803698435</c:v>
                </c:pt>
                <c:pt idx="2214">
                  <c:v>212.27619724988099</c:v>
                </c:pt>
                <c:pt idx="2215">
                  <c:v>210.21005215741999</c:v>
                </c:pt>
                <c:pt idx="2216">
                  <c:v>210.34660976766199</c:v>
                </c:pt>
                <c:pt idx="2217">
                  <c:v>213.46917970602101</c:v>
                </c:pt>
                <c:pt idx="2218">
                  <c:v>216.06495969653801</c:v>
                </c:pt>
                <c:pt idx="2219">
                  <c:v>217.25320056899</c:v>
                </c:pt>
                <c:pt idx="2220">
                  <c:v>219.27311522048299</c:v>
                </c:pt>
                <c:pt idx="2221">
                  <c:v>220.43219535324701</c:v>
                </c:pt>
                <c:pt idx="2222">
                  <c:v>220.32479848269301</c:v>
                </c:pt>
                <c:pt idx="2223">
                  <c:v>222.77430061640499</c:v>
                </c:pt>
                <c:pt idx="2224">
                  <c:v>225.079658605974</c:v>
                </c:pt>
                <c:pt idx="2225">
                  <c:v>223.02465623518199</c:v>
                </c:pt>
                <c:pt idx="2226">
                  <c:v>223.76529160739599</c:v>
                </c:pt>
                <c:pt idx="2227">
                  <c:v>222.42223802750101</c:v>
                </c:pt>
                <c:pt idx="2228">
                  <c:v>219.110004741583</c:v>
                </c:pt>
                <c:pt idx="2229">
                  <c:v>222.311996206733</c:v>
                </c:pt>
                <c:pt idx="2230">
                  <c:v>227.558795637743</c:v>
                </c:pt>
                <c:pt idx="2231">
                  <c:v>229.19819819819801</c:v>
                </c:pt>
                <c:pt idx="2232">
                  <c:v>227.21953532479799</c:v>
                </c:pt>
                <c:pt idx="2233">
                  <c:v>225.74727358937801</c:v>
                </c:pt>
                <c:pt idx="2234">
                  <c:v>225.377667140825</c:v>
                </c:pt>
                <c:pt idx="2235">
                  <c:v>222.97889995258399</c:v>
                </c:pt>
                <c:pt idx="2236">
                  <c:v>221.42105263157799</c:v>
                </c:pt>
                <c:pt idx="2237">
                  <c:v>225.991228070175</c:v>
                </c:pt>
                <c:pt idx="2238">
                  <c:v>228.35514461830201</c:v>
                </c:pt>
                <c:pt idx="2239">
                  <c:v>229.694879089615</c:v>
                </c:pt>
                <c:pt idx="2240">
                  <c:v>226.462541488857</c:v>
                </c:pt>
                <c:pt idx="2241">
                  <c:v>221.393788525367</c:v>
                </c:pt>
                <c:pt idx="2242">
                  <c:v>225.04907539118</c:v>
                </c:pt>
                <c:pt idx="2243">
                  <c:v>235.858937885253</c:v>
                </c:pt>
                <c:pt idx="2244">
                  <c:v>241.11237553342801</c:v>
                </c:pt>
                <c:pt idx="2245">
                  <c:v>236.52062588904599</c:v>
                </c:pt>
                <c:pt idx="2246">
                  <c:v>234.791133238501</c:v>
                </c:pt>
                <c:pt idx="2247">
                  <c:v>235.59649122806999</c:v>
                </c:pt>
                <c:pt idx="2248">
                  <c:v>239.11142721669</c:v>
                </c:pt>
                <c:pt idx="2249">
                  <c:v>242.02062588904599</c:v>
                </c:pt>
                <c:pt idx="2250">
                  <c:v>240.83712660028399</c:v>
                </c:pt>
                <c:pt idx="2251">
                  <c:v>233.766239924134</c:v>
                </c:pt>
                <c:pt idx="2252">
                  <c:v>233.73731626363201</c:v>
                </c:pt>
                <c:pt idx="2253">
                  <c:v>244.60336652441899</c:v>
                </c:pt>
                <c:pt idx="2254">
                  <c:v>252.071360834518</c:v>
                </c:pt>
                <c:pt idx="2255">
                  <c:v>249.516121384542</c:v>
                </c:pt>
                <c:pt idx="2256">
                  <c:v>239.932906590801</c:v>
                </c:pt>
                <c:pt idx="2257">
                  <c:v>235.896870554765</c:v>
                </c:pt>
                <c:pt idx="2258">
                  <c:v>241.92697961119001</c:v>
                </c:pt>
                <c:pt idx="2259">
                  <c:v>251.44570886676101</c:v>
                </c:pt>
                <c:pt idx="2260">
                  <c:v>254.40350877192901</c:v>
                </c:pt>
                <c:pt idx="2261">
                  <c:v>250.02631578947299</c:v>
                </c:pt>
                <c:pt idx="2262">
                  <c:v>245.12256993835899</c:v>
                </c:pt>
                <c:pt idx="2263">
                  <c:v>248.56970128022701</c:v>
                </c:pt>
                <c:pt idx="2264">
                  <c:v>251.86320531057299</c:v>
                </c:pt>
                <c:pt idx="2265">
                  <c:v>248.50829777145501</c:v>
                </c:pt>
                <c:pt idx="2266">
                  <c:v>244.95187292555701</c:v>
                </c:pt>
                <c:pt idx="2267">
                  <c:v>249.44238975817899</c:v>
                </c:pt>
                <c:pt idx="2268">
                  <c:v>258.39924134660902</c:v>
                </c:pt>
                <c:pt idx="2269">
                  <c:v>261.97178757705001</c:v>
                </c:pt>
                <c:pt idx="2270">
                  <c:v>255.38809862494</c:v>
                </c:pt>
                <c:pt idx="2271">
                  <c:v>242.52489331436701</c:v>
                </c:pt>
                <c:pt idx="2272">
                  <c:v>240.89758179231799</c:v>
                </c:pt>
                <c:pt idx="2273">
                  <c:v>252.87956377430001</c:v>
                </c:pt>
                <c:pt idx="2274">
                  <c:v>262.27169274537601</c:v>
                </c:pt>
                <c:pt idx="2275">
                  <c:v>260.00284495021299</c:v>
                </c:pt>
                <c:pt idx="2276">
                  <c:v>243.334992887624</c:v>
                </c:pt>
                <c:pt idx="2277">
                  <c:v>231.95614035087701</c:v>
                </c:pt>
                <c:pt idx="2278">
                  <c:v>246.21289710763301</c:v>
                </c:pt>
                <c:pt idx="2279">
                  <c:v>262.21242294926498</c:v>
                </c:pt>
                <c:pt idx="2280">
                  <c:v>263.14532954006597</c:v>
                </c:pt>
                <c:pt idx="2281">
                  <c:v>249.171408250355</c:v>
                </c:pt>
                <c:pt idx="2282">
                  <c:v>236.87600758653301</c:v>
                </c:pt>
                <c:pt idx="2283">
                  <c:v>242.45258416311</c:v>
                </c:pt>
                <c:pt idx="2284">
                  <c:v>262.25841631104697</c:v>
                </c:pt>
                <c:pt idx="2285">
                  <c:v>272.875059269796</c:v>
                </c:pt>
                <c:pt idx="2286">
                  <c:v>266.53603603603602</c:v>
                </c:pt>
                <c:pt idx="2287">
                  <c:v>251.234945471787</c:v>
                </c:pt>
                <c:pt idx="2288">
                  <c:v>248.66263632053099</c:v>
                </c:pt>
                <c:pt idx="2289">
                  <c:v>258.22166903745801</c:v>
                </c:pt>
                <c:pt idx="2290">
                  <c:v>263.69345661450899</c:v>
                </c:pt>
                <c:pt idx="2291">
                  <c:v>257.34992887624401</c:v>
                </c:pt>
                <c:pt idx="2292">
                  <c:v>240.62825983878599</c:v>
                </c:pt>
                <c:pt idx="2293">
                  <c:v>241.37932669511599</c:v>
                </c:pt>
                <c:pt idx="2294">
                  <c:v>255.93504030346099</c:v>
                </c:pt>
                <c:pt idx="2295">
                  <c:v>259.355381697486</c:v>
                </c:pt>
                <c:pt idx="2296">
                  <c:v>248.96396396396301</c:v>
                </c:pt>
                <c:pt idx="2297">
                  <c:v>236.845898530109</c:v>
                </c:pt>
                <c:pt idx="2298">
                  <c:v>237.98933143669899</c:v>
                </c:pt>
                <c:pt idx="2299">
                  <c:v>253.116642958748</c:v>
                </c:pt>
                <c:pt idx="2300">
                  <c:v>265.555713608345</c:v>
                </c:pt>
                <c:pt idx="2301">
                  <c:v>260.02323376007502</c:v>
                </c:pt>
                <c:pt idx="2302">
                  <c:v>242.827169274537</c:v>
                </c:pt>
                <c:pt idx="2303">
                  <c:v>238.85704125177801</c:v>
                </c:pt>
                <c:pt idx="2304">
                  <c:v>250.49454717875699</c:v>
                </c:pt>
                <c:pt idx="2305">
                  <c:v>258.89639639639603</c:v>
                </c:pt>
                <c:pt idx="2306">
                  <c:v>255.57847321005201</c:v>
                </c:pt>
                <c:pt idx="2307">
                  <c:v>246.64343290658999</c:v>
                </c:pt>
                <c:pt idx="2308">
                  <c:v>242.11379800853399</c:v>
                </c:pt>
                <c:pt idx="2309">
                  <c:v>253.87482219061101</c:v>
                </c:pt>
                <c:pt idx="2310">
                  <c:v>262.430298719772</c:v>
                </c:pt>
                <c:pt idx="2311">
                  <c:v>256.26031294452298</c:v>
                </c:pt>
                <c:pt idx="2312">
                  <c:v>238.95542911332299</c:v>
                </c:pt>
                <c:pt idx="2313">
                  <c:v>229.32574679943099</c:v>
                </c:pt>
                <c:pt idx="2314">
                  <c:v>240.48269321953501</c:v>
                </c:pt>
                <c:pt idx="2315">
                  <c:v>254.92057847321001</c:v>
                </c:pt>
                <c:pt idx="2316">
                  <c:v>256.88288288288197</c:v>
                </c:pt>
                <c:pt idx="2317">
                  <c:v>246.74940730203801</c:v>
                </c:pt>
                <c:pt idx="2318">
                  <c:v>236.21171171171099</c:v>
                </c:pt>
                <c:pt idx="2319">
                  <c:v>243.051683262209</c:v>
                </c:pt>
                <c:pt idx="2320">
                  <c:v>255.40327169274499</c:v>
                </c:pt>
                <c:pt idx="2321">
                  <c:v>256.14390706495902</c:v>
                </c:pt>
                <c:pt idx="2322">
                  <c:v>247.38359412043599</c:v>
                </c:pt>
                <c:pt idx="2323">
                  <c:v>241.06685633001399</c:v>
                </c:pt>
                <c:pt idx="2324">
                  <c:v>245.88406827880499</c:v>
                </c:pt>
                <c:pt idx="2325">
                  <c:v>256.37482219061098</c:v>
                </c:pt>
                <c:pt idx="2326">
                  <c:v>258.90967283072501</c:v>
                </c:pt>
                <c:pt idx="2327">
                  <c:v>246.65813181602601</c:v>
                </c:pt>
                <c:pt idx="2328">
                  <c:v>237.038643907064</c:v>
                </c:pt>
                <c:pt idx="2329">
                  <c:v>242.301090564248</c:v>
                </c:pt>
                <c:pt idx="2330">
                  <c:v>252.651493598862</c:v>
                </c:pt>
                <c:pt idx="2331">
                  <c:v>257.49786628733898</c:v>
                </c:pt>
                <c:pt idx="2332">
                  <c:v>255.12541488857201</c:v>
                </c:pt>
                <c:pt idx="2333">
                  <c:v>244.665244191559</c:v>
                </c:pt>
                <c:pt idx="2334">
                  <c:v>244.53556187766699</c:v>
                </c:pt>
                <c:pt idx="2335">
                  <c:v>256.09009009008997</c:v>
                </c:pt>
                <c:pt idx="2336">
                  <c:v>259.46277856804102</c:v>
                </c:pt>
                <c:pt idx="2337">
                  <c:v>253.69724988146001</c:v>
                </c:pt>
                <c:pt idx="2338">
                  <c:v>246.236605026078</c:v>
                </c:pt>
                <c:pt idx="2339">
                  <c:v>247.048601232811</c:v>
                </c:pt>
                <c:pt idx="2340">
                  <c:v>252.59767662399199</c:v>
                </c:pt>
                <c:pt idx="2341">
                  <c:v>255.115220483641</c:v>
                </c:pt>
                <c:pt idx="2342">
                  <c:v>249.42697961119001</c:v>
                </c:pt>
                <c:pt idx="2343">
                  <c:v>239.92792792792699</c:v>
                </c:pt>
                <c:pt idx="2344">
                  <c:v>241.15410146989001</c:v>
                </c:pt>
                <c:pt idx="2345">
                  <c:v>249.20507349454701</c:v>
                </c:pt>
                <c:pt idx="2346">
                  <c:v>251.880275011853</c:v>
                </c:pt>
                <c:pt idx="2347">
                  <c:v>250.40018966334699</c:v>
                </c:pt>
                <c:pt idx="2348">
                  <c:v>245.192745376955</c:v>
                </c:pt>
                <c:pt idx="2349">
                  <c:v>241.528212422949</c:v>
                </c:pt>
                <c:pt idx="2350">
                  <c:v>240.599573257467</c:v>
                </c:pt>
                <c:pt idx="2351">
                  <c:v>241.551683262209</c:v>
                </c:pt>
                <c:pt idx="2352">
                  <c:v>241.59838786154501</c:v>
                </c:pt>
                <c:pt idx="2353">
                  <c:v>241.73162636320501</c:v>
                </c:pt>
                <c:pt idx="2354">
                  <c:v>241.47439544807901</c:v>
                </c:pt>
                <c:pt idx="2355">
                  <c:v>242.45803698435199</c:v>
                </c:pt>
                <c:pt idx="2356">
                  <c:v>243.56401137980001</c:v>
                </c:pt>
                <c:pt idx="2357">
                  <c:v>246.79824561403501</c:v>
                </c:pt>
                <c:pt idx="2358">
                  <c:v>252.983404457088</c:v>
                </c:pt>
                <c:pt idx="2359">
                  <c:v>254.836415362731</c:v>
                </c:pt>
                <c:pt idx="2360">
                  <c:v>247.66453295400601</c:v>
                </c:pt>
                <c:pt idx="2361">
                  <c:v>244.59246088193399</c:v>
                </c:pt>
                <c:pt idx="2362">
                  <c:v>244.52489331436701</c:v>
                </c:pt>
                <c:pt idx="2363">
                  <c:v>244.661450924608</c:v>
                </c:pt>
                <c:pt idx="2364">
                  <c:v>248.7271218587</c:v>
                </c:pt>
                <c:pt idx="2365">
                  <c:v>248.30749170222799</c:v>
                </c:pt>
                <c:pt idx="2366">
                  <c:v>248.13679468942601</c:v>
                </c:pt>
                <c:pt idx="2367">
                  <c:v>248.791844476054</c:v>
                </c:pt>
                <c:pt idx="2368">
                  <c:v>247.48103366524401</c:v>
                </c:pt>
                <c:pt idx="2369">
                  <c:v>241.47676623992399</c:v>
                </c:pt>
                <c:pt idx="2370">
                  <c:v>239.081318160265</c:v>
                </c:pt>
                <c:pt idx="2371">
                  <c:v>245.20815552394501</c:v>
                </c:pt>
                <c:pt idx="2372">
                  <c:v>249.75699383594099</c:v>
                </c:pt>
                <c:pt idx="2373">
                  <c:v>247.79824561403501</c:v>
                </c:pt>
                <c:pt idx="2374">
                  <c:v>250.207444286391</c:v>
                </c:pt>
                <c:pt idx="2375">
                  <c:v>248.789710763394</c:v>
                </c:pt>
                <c:pt idx="2376">
                  <c:v>245.89449976291999</c:v>
                </c:pt>
                <c:pt idx="2377">
                  <c:v>242.301564722617</c:v>
                </c:pt>
                <c:pt idx="2378">
                  <c:v>238.682788051209</c:v>
                </c:pt>
                <c:pt idx="2379">
                  <c:v>240.70246562351801</c:v>
                </c:pt>
                <c:pt idx="2380">
                  <c:v>246.63940256045501</c:v>
                </c:pt>
                <c:pt idx="2381">
                  <c:v>247.78307254622999</c:v>
                </c:pt>
                <c:pt idx="2382">
                  <c:v>246.22119487908901</c:v>
                </c:pt>
                <c:pt idx="2383">
                  <c:v>246.70554765291601</c:v>
                </c:pt>
                <c:pt idx="2384">
                  <c:v>246.25723091512501</c:v>
                </c:pt>
                <c:pt idx="2385">
                  <c:v>243.44310099573201</c:v>
                </c:pt>
                <c:pt idx="2386">
                  <c:v>241.22807017543801</c:v>
                </c:pt>
                <c:pt idx="2387">
                  <c:v>239.47012802275901</c:v>
                </c:pt>
                <c:pt idx="2388">
                  <c:v>238.865576102418</c:v>
                </c:pt>
                <c:pt idx="2389">
                  <c:v>237.73210052157401</c:v>
                </c:pt>
                <c:pt idx="2390">
                  <c:v>238.18681839734401</c:v>
                </c:pt>
                <c:pt idx="2391">
                  <c:v>238.583451872925</c:v>
                </c:pt>
                <c:pt idx="2392">
                  <c:v>236.137505926979</c:v>
                </c:pt>
                <c:pt idx="2393">
                  <c:v>234.28947368421001</c:v>
                </c:pt>
                <c:pt idx="2394">
                  <c:v>234.86747273589299</c:v>
                </c:pt>
                <c:pt idx="2395">
                  <c:v>237.211000474158</c:v>
                </c:pt>
                <c:pt idx="2396">
                  <c:v>235.22854433380701</c:v>
                </c:pt>
                <c:pt idx="2397">
                  <c:v>233.629682313892</c:v>
                </c:pt>
                <c:pt idx="2398">
                  <c:v>235.311522048364</c:v>
                </c:pt>
                <c:pt idx="2399">
                  <c:v>236.28828828828799</c:v>
                </c:pt>
                <c:pt idx="2400">
                  <c:v>239.50189663347501</c:v>
                </c:pt>
                <c:pt idx="2401">
                  <c:v>240.065196775723</c:v>
                </c:pt>
                <c:pt idx="2402">
                  <c:v>238.04575628259801</c:v>
                </c:pt>
                <c:pt idx="2403">
                  <c:v>237.80346135609199</c:v>
                </c:pt>
                <c:pt idx="2404">
                  <c:v>241.237553342816</c:v>
                </c:pt>
                <c:pt idx="2405">
                  <c:v>244.07728781412899</c:v>
                </c:pt>
                <c:pt idx="2406">
                  <c:v>244.60905642484499</c:v>
                </c:pt>
                <c:pt idx="2407">
                  <c:v>244.84186818397299</c:v>
                </c:pt>
                <c:pt idx="2408">
                  <c:v>243.68587008060601</c:v>
                </c:pt>
                <c:pt idx="2409">
                  <c:v>243.585348506401</c:v>
                </c:pt>
                <c:pt idx="2410">
                  <c:v>244.28568041725899</c:v>
                </c:pt>
                <c:pt idx="2411">
                  <c:v>245.759364627785</c:v>
                </c:pt>
                <c:pt idx="2412">
                  <c:v>248.77264106211399</c:v>
                </c:pt>
                <c:pt idx="2413">
                  <c:v>246.01541014698901</c:v>
                </c:pt>
                <c:pt idx="2414">
                  <c:v>237.36012328117499</c:v>
                </c:pt>
                <c:pt idx="2415">
                  <c:v>238.53176861071501</c:v>
                </c:pt>
                <c:pt idx="2416">
                  <c:v>239.47961119013701</c:v>
                </c:pt>
                <c:pt idx="2417">
                  <c:v>243.98150782361299</c:v>
                </c:pt>
                <c:pt idx="2418">
                  <c:v>245.52631578947299</c:v>
                </c:pt>
                <c:pt idx="2419">
                  <c:v>244.87434803224201</c:v>
                </c:pt>
                <c:pt idx="2420">
                  <c:v>241.78733997155001</c:v>
                </c:pt>
                <c:pt idx="2421">
                  <c:v>239.562588904694</c:v>
                </c:pt>
                <c:pt idx="2422">
                  <c:v>241.608819345661</c:v>
                </c:pt>
                <c:pt idx="2423">
                  <c:v>243.68800379326601</c:v>
                </c:pt>
                <c:pt idx="2424">
                  <c:v>245.31578947368399</c:v>
                </c:pt>
                <c:pt idx="2425">
                  <c:v>242.92745376955901</c:v>
                </c:pt>
                <c:pt idx="2426">
                  <c:v>239.901137980085</c:v>
                </c:pt>
                <c:pt idx="2427">
                  <c:v>242.245376955903</c:v>
                </c:pt>
                <c:pt idx="2428">
                  <c:v>242.996443812233</c:v>
                </c:pt>
                <c:pt idx="2429">
                  <c:v>246.55500237079099</c:v>
                </c:pt>
                <c:pt idx="2430">
                  <c:v>248.479848269321</c:v>
                </c:pt>
                <c:pt idx="2431">
                  <c:v>247.05500237079099</c:v>
                </c:pt>
                <c:pt idx="2432">
                  <c:v>242.36605026078701</c:v>
                </c:pt>
                <c:pt idx="2433">
                  <c:v>241.152204836415</c:v>
                </c:pt>
                <c:pt idx="2434">
                  <c:v>244.741109530583</c:v>
                </c:pt>
                <c:pt idx="2435">
                  <c:v>246.03532479848201</c:v>
                </c:pt>
                <c:pt idx="2436">
                  <c:v>244.001659554291</c:v>
                </c:pt>
                <c:pt idx="2437">
                  <c:v>243.17520151730599</c:v>
                </c:pt>
                <c:pt idx="2438">
                  <c:v>241.27999051683199</c:v>
                </c:pt>
                <c:pt idx="2439">
                  <c:v>239.84495021337099</c:v>
                </c:pt>
                <c:pt idx="2440">
                  <c:v>237.447368421052</c:v>
                </c:pt>
                <c:pt idx="2441">
                  <c:v>234.232337600758</c:v>
                </c:pt>
                <c:pt idx="2442">
                  <c:v>233.861071597913</c:v>
                </c:pt>
                <c:pt idx="2443">
                  <c:v>235.17520151730599</c:v>
                </c:pt>
                <c:pt idx="2444">
                  <c:v>237.30654338548999</c:v>
                </c:pt>
                <c:pt idx="2445">
                  <c:v>240.32361308677</c:v>
                </c:pt>
                <c:pt idx="2446">
                  <c:v>240.19061166429501</c:v>
                </c:pt>
                <c:pt idx="2447">
                  <c:v>238.36699857752399</c:v>
                </c:pt>
                <c:pt idx="2448">
                  <c:v>236.00497866287299</c:v>
                </c:pt>
                <c:pt idx="2449">
                  <c:v>236.25011853959199</c:v>
                </c:pt>
                <c:pt idx="2450">
                  <c:v>237.04030346135599</c:v>
                </c:pt>
                <c:pt idx="2451">
                  <c:v>238.71005215741999</c:v>
                </c:pt>
                <c:pt idx="2452">
                  <c:v>242.26220957799899</c:v>
                </c:pt>
                <c:pt idx="2453">
                  <c:v>243.48790896159301</c:v>
                </c:pt>
                <c:pt idx="2454">
                  <c:v>245.44523470839201</c:v>
                </c:pt>
                <c:pt idx="2455">
                  <c:v>244.35182550971999</c:v>
                </c:pt>
                <c:pt idx="2456">
                  <c:v>243.805832147937</c:v>
                </c:pt>
                <c:pt idx="2457">
                  <c:v>246.40896159317199</c:v>
                </c:pt>
                <c:pt idx="2458">
                  <c:v>248.59222380275</c:v>
                </c:pt>
                <c:pt idx="2459">
                  <c:v>249.33926031294399</c:v>
                </c:pt>
                <c:pt idx="2460">
                  <c:v>247.214082503556</c:v>
                </c:pt>
                <c:pt idx="2461">
                  <c:v>242.77833096254099</c:v>
                </c:pt>
                <c:pt idx="2462">
                  <c:v>239.646989094357</c:v>
                </c:pt>
                <c:pt idx="2463">
                  <c:v>242.62209577998999</c:v>
                </c:pt>
                <c:pt idx="2464">
                  <c:v>244.76600284495001</c:v>
                </c:pt>
                <c:pt idx="2465">
                  <c:v>244.89710763394899</c:v>
                </c:pt>
                <c:pt idx="2466">
                  <c:v>248.65979137031701</c:v>
                </c:pt>
                <c:pt idx="2467">
                  <c:v>250.60763394973901</c:v>
                </c:pt>
                <c:pt idx="2468">
                  <c:v>247.575154101469</c:v>
                </c:pt>
                <c:pt idx="2469">
                  <c:v>243.74466571834901</c:v>
                </c:pt>
                <c:pt idx="2470">
                  <c:v>245.19464201043101</c:v>
                </c:pt>
                <c:pt idx="2471">
                  <c:v>245.081318160265</c:v>
                </c:pt>
                <c:pt idx="2472">
                  <c:v>242.416311047889</c:v>
                </c:pt>
                <c:pt idx="2473">
                  <c:v>243.10644855381599</c:v>
                </c:pt>
                <c:pt idx="2474">
                  <c:v>244.81318160265499</c:v>
                </c:pt>
                <c:pt idx="2475">
                  <c:v>248.918918918918</c:v>
                </c:pt>
                <c:pt idx="2476">
                  <c:v>252.72854433380701</c:v>
                </c:pt>
                <c:pt idx="2477">
                  <c:v>255.1844476055</c:v>
                </c:pt>
                <c:pt idx="2478">
                  <c:v>254.78662873399699</c:v>
                </c:pt>
                <c:pt idx="2479">
                  <c:v>252.50640113797999</c:v>
                </c:pt>
                <c:pt idx="2480">
                  <c:v>248.767662399241</c:v>
                </c:pt>
                <c:pt idx="2481">
                  <c:v>247.06851588430499</c:v>
                </c:pt>
                <c:pt idx="2482">
                  <c:v>252.41607396870501</c:v>
                </c:pt>
                <c:pt idx="2483">
                  <c:v>253.939070649596</c:v>
                </c:pt>
                <c:pt idx="2484">
                  <c:v>251.14983404457001</c:v>
                </c:pt>
                <c:pt idx="2485">
                  <c:v>249.48221906116601</c:v>
                </c:pt>
                <c:pt idx="2486">
                  <c:v>249.53176861071501</c:v>
                </c:pt>
                <c:pt idx="2487">
                  <c:v>248.74442863916499</c:v>
                </c:pt>
                <c:pt idx="2488">
                  <c:v>249.73684210526301</c:v>
                </c:pt>
                <c:pt idx="2489">
                  <c:v>248.539592223802</c:v>
                </c:pt>
                <c:pt idx="2490">
                  <c:v>244.31033665244101</c:v>
                </c:pt>
                <c:pt idx="2491">
                  <c:v>243.02584163110399</c:v>
                </c:pt>
                <c:pt idx="2492">
                  <c:v>242.372925557136</c:v>
                </c:pt>
                <c:pt idx="2493">
                  <c:v>243.14129919393</c:v>
                </c:pt>
                <c:pt idx="2494">
                  <c:v>240.804646752015</c:v>
                </c:pt>
                <c:pt idx="2495">
                  <c:v>239.35561877667101</c:v>
                </c:pt>
                <c:pt idx="2496">
                  <c:v>242.13371266002801</c:v>
                </c:pt>
                <c:pt idx="2497">
                  <c:v>242.72925557136</c:v>
                </c:pt>
                <c:pt idx="2498">
                  <c:v>242.23944997629201</c:v>
                </c:pt>
                <c:pt idx="2499">
                  <c:v>244.94191559980999</c:v>
                </c:pt>
                <c:pt idx="2500">
                  <c:v>247.62588904694101</c:v>
                </c:pt>
                <c:pt idx="2501">
                  <c:v>248.26126126126101</c:v>
                </c:pt>
                <c:pt idx="2502">
                  <c:v>243.07207207207199</c:v>
                </c:pt>
                <c:pt idx="2503">
                  <c:v>238.94001896633401</c:v>
                </c:pt>
                <c:pt idx="2504">
                  <c:v>242.16287339971501</c:v>
                </c:pt>
                <c:pt idx="2505">
                  <c:v>246.21431958273999</c:v>
                </c:pt>
                <c:pt idx="2506">
                  <c:v>246.791844476054</c:v>
                </c:pt>
                <c:pt idx="2507">
                  <c:v>245.417259364627</c:v>
                </c:pt>
                <c:pt idx="2508">
                  <c:v>243.34257942152601</c:v>
                </c:pt>
                <c:pt idx="2509">
                  <c:v>239.86581318160199</c:v>
                </c:pt>
                <c:pt idx="2510">
                  <c:v>239.643907064959</c:v>
                </c:pt>
                <c:pt idx="2511">
                  <c:v>239.491228070175</c:v>
                </c:pt>
                <c:pt idx="2512">
                  <c:v>241.51635846372599</c:v>
                </c:pt>
                <c:pt idx="2513">
                  <c:v>243.16429587482199</c:v>
                </c:pt>
                <c:pt idx="2514">
                  <c:v>245.24727358937801</c:v>
                </c:pt>
                <c:pt idx="2515">
                  <c:v>246.33428165007101</c:v>
                </c:pt>
                <c:pt idx="2516">
                  <c:v>249.75130393551399</c:v>
                </c:pt>
                <c:pt idx="2517">
                  <c:v>249.52489331436701</c:v>
                </c:pt>
                <c:pt idx="2518">
                  <c:v>246.06638217164499</c:v>
                </c:pt>
                <c:pt idx="2519">
                  <c:v>241.112612612612</c:v>
                </c:pt>
                <c:pt idx="2520">
                  <c:v>240.461593172119</c:v>
                </c:pt>
                <c:pt idx="2521">
                  <c:v>242.86059743954399</c:v>
                </c:pt>
                <c:pt idx="2522">
                  <c:v>243.31626363205299</c:v>
                </c:pt>
                <c:pt idx="2523">
                  <c:v>241.58202939781799</c:v>
                </c:pt>
                <c:pt idx="2524">
                  <c:v>241.43669985775199</c:v>
                </c:pt>
                <c:pt idx="2525">
                  <c:v>239.224513987671</c:v>
                </c:pt>
                <c:pt idx="2526">
                  <c:v>237.87956377430001</c:v>
                </c:pt>
                <c:pt idx="2527">
                  <c:v>239.80085348506401</c:v>
                </c:pt>
                <c:pt idx="2528">
                  <c:v>240.03982930298699</c:v>
                </c:pt>
                <c:pt idx="2529">
                  <c:v>239.03319108582201</c:v>
                </c:pt>
                <c:pt idx="2530">
                  <c:v>238.469890943575</c:v>
                </c:pt>
                <c:pt idx="2531">
                  <c:v>239.68302513039299</c:v>
                </c:pt>
                <c:pt idx="2532">
                  <c:v>240.38809862494</c:v>
                </c:pt>
                <c:pt idx="2533">
                  <c:v>238.66548127074401</c:v>
                </c:pt>
                <c:pt idx="2534">
                  <c:v>239.371977240398</c:v>
                </c:pt>
                <c:pt idx="2535">
                  <c:v>237.674964438122</c:v>
                </c:pt>
                <c:pt idx="2536">
                  <c:v>235.27003319108499</c:v>
                </c:pt>
                <c:pt idx="2537">
                  <c:v>238.951635846372</c:v>
                </c:pt>
                <c:pt idx="2538">
                  <c:v>242.85016595542899</c:v>
                </c:pt>
                <c:pt idx="2539">
                  <c:v>243.48458985300999</c:v>
                </c:pt>
                <c:pt idx="2540">
                  <c:v>243.36889521099999</c:v>
                </c:pt>
                <c:pt idx="2541">
                  <c:v>243.09625414888501</c:v>
                </c:pt>
                <c:pt idx="2542">
                  <c:v>245.30440967282999</c:v>
                </c:pt>
                <c:pt idx="2543">
                  <c:v>245.61190137505901</c:v>
                </c:pt>
                <c:pt idx="2544">
                  <c:v>242.13679468942601</c:v>
                </c:pt>
                <c:pt idx="2545">
                  <c:v>240.761972498814</c:v>
                </c:pt>
                <c:pt idx="2546">
                  <c:v>243.34992887624401</c:v>
                </c:pt>
                <c:pt idx="2547">
                  <c:v>243.136557610241</c:v>
                </c:pt>
                <c:pt idx="2548">
                  <c:v>242.16334755808401</c:v>
                </c:pt>
                <c:pt idx="2549">
                  <c:v>239.588667614983</c:v>
                </c:pt>
                <c:pt idx="2550">
                  <c:v>241.345898530109</c:v>
                </c:pt>
                <c:pt idx="2551">
                  <c:v>240.57681365576099</c:v>
                </c:pt>
                <c:pt idx="2552">
                  <c:v>240.858937885253</c:v>
                </c:pt>
                <c:pt idx="2553">
                  <c:v>243.41156946420099</c:v>
                </c:pt>
                <c:pt idx="2554">
                  <c:v>244.34874348032201</c:v>
                </c:pt>
                <c:pt idx="2555">
                  <c:v>246.81057373162599</c:v>
                </c:pt>
                <c:pt idx="2556">
                  <c:v>245.13252726410599</c:v>
                </c:pt>
                <c:pt idx="2557">
                  <c:v>243.302750118539</c:v>
                </c:pt>
                <c:pt idx="2558">
                  <c:v>241.44713134186799</c:v>
                </c:pt>
                <c:pt idx="2559">
                  <c:v>241.72119487908901</c:v>
                </c:pt>
                <c:pt idx="2560">
                  <c:v>244.92318634423799</c:v>
                </c:pt>
                <c:pt idx="2561">
                  <c:v>245.62683736367899</c:v>
                </c:pt>
                <c:pt idx="2562">
                  <c:v>247.04362256993801</c:v>
                </c:pt>
                <c:pt idx="2563">
                  <c:v>247.232337600758</c:v>
                </c:pt>
                <c:pt idx="2564">
                  <c:v>248.982930298719</c:v>
                </c:pt>
                <c:pt idx="2565">
                  <c:v>248.169274537695</c:v>
                </c:pt>
                <c:pt idx="2566">
                  <c:v>243.23304883831099</c:v>
                </c:pt>
                <c:pt idx="2567">
                  <c:v>242.7271218587</c:v>
                </c:pt>
                <c:pt idx="2568">
                  <c:v>241.87268847795099</c:v>
                </c:pt>
                <c:pt idx="2569">
                  <c:v>239.348506401137</c:v>
                </c:pt>
                <c:pt idx="2570">
                  <c:v>239.076102418207</c:v>
                </c:pt>
                <c:pt idx="2571">
                  <c:v>242.01280227596001</c:v>
                </c:pt>
                <c:pt idx="2572">
                  <c:v>241.22949265054501</c:v>
                </c:pt>
                <c:pt idx="2573">
                  <c:v>239.492176386913</c:v>
                </c:pt>
                <c:pt idx="2574">
                  <c:v>237.31910858226601</c:v>
                </c:pt>
                <c:pt idx="2575">
                  <c:v>238.32005689900399</c:v>
                </c:pt>
                <c:pt idx="2576">
                  <c:v>242.401612138454</c:v>
                </c:pt>
                <c:pt idx="2577">
                  <c:v>246.459459459459</c:v>
                </c:pt>
                <c:pt idx="2578">
                  <c:v>248.581318160265</c:v>
                </c:pt>
                <c:pt idx="2579">
                  <c:v>248.16192508297701</c:v>
                </c:pt>
                <c:pt idx="2580">
                  <c:v>244.67686107159699</c:v>
                </c:pt>
                <c:pt idx="2581">
                  <c:v>241.97439544807901</c:v>
                </c:pt>
                <c:pt idx="2582">
                  <c:v>239.640587956377</c:v>
                </c:pt>
                <c:pt idx="2583">
                  <c:v>241.922949265054</c:v>
                </c:pt>
                <c:pt idx="2584">
                  <c:v>242.855855855855</c:v>
                </c:pt>
                <c:pt idx="2585">
                  <c:v>241.53840682788001</c:v>
                </c:pt>
                <c:pt idx="2586">
                  <c:v>241.89781887150301</c:v>
                </c:pt>
                <c:pt idx="2587">
                  <c:v>243.665244191559</c:v>
                </c:pt>
                <c:pt idx="2588">
                  <c:v>247.27738264580299</c:v>
                </c:pt>
                <c:pt idx="2589">
                  <c:v>247.61190137505901</c:v>
                </c:pt>
                <c:pt idx="2590">
                  <c:v>246.55855855855799</c:v>
                </c:pt>
                <c:pt idx="2591">
                  <c:v>244.31839734471299</c:v>
                </c:pt>
                <c:pt idx="2592">
                  <c:v>243.919393077287</c:v>
                </c:pt>
                <c:pt idx="2593">
                  <c:v>241.61284969179701</c:v>
                </c:pt>
                <c:pt idx="2594">
                  <c:v>240.90611664295801</c:v>
                </c:pt>
                <c:pt idx="2595">
                  <c:v>243.484352773826</c:v>
                </c:pt>
                <c:pt idx="2596">
                  <c:v>245.89568515884301</c:v>
                </c:pt>
                <c:pt idx="2597">
                  <c:v>243.009957325746</c:v>
                </c:pt>
                <c:pt idx="2598">
                  <c:v>239.84210526315701</c:v>
                </c:pt>
                <c:pt idx="2599">
                  <c:v>240.56733048838299</c:v>
                </c:pt>
                <c:pt idx="2600">
                  <c:v>242.41394025604501</c:v>
                </c:pt>
                <c:pt idx="2601">
                  <c:v>245.44476055002301</c:v>
                </c:pt>
                <c:pt idx="2602">
                  <c:v>244.13110478899901</c:v>
                </c:pt>
                <c:pt idx="2603">
                  <c:v>240.65813181602601</c:v>
                </c:pt>
                <c:pt idx="2604">
                  <c:v>241.09222380275</c:v>
                </c:pt>
                <c:pt idx="2605">
                  <c:v>245.34305357989501</c:v>
                </c:pt>
                <c:pt idx="2606">
                  <c:v>247.518255097202</c:v>
                </c:pt>
                <c:pt idx="2607">
                  <c:v>248.763157894736</c:v>
                </c:pt>
                <c:pt idx="2608">
                  <c:v>247.17852062588901</c:v>
                </c:pt>
                <c:pt idx="2609">
                  <c:v>245.399004267425</c:v>
                </c:pt>
                <c:pt idx="2610">
                  <c:v>246.261498340445</c:v>
                </c:pt>
                <c:pt idx="2611">
                  <c:v>247.10597439544799</c:v>
                </c:pt>
                <c:pt idx="2612">
                  <c:v>246.95614035087701</c:v>
                </c:pt>
                <c:pt idx="2613">
                  <c:v>250.123518255097</c:v>
                </c:pt>
                <c:pt idx="2614">
                  <c:v>252.40042674253201</c:v>
                </c:pt>
                <c:pt idx="2615">
                  <c:v>248.80796586059699</c:v>
                </c:pt>
                <c:pt idx="2616">
                  <c:v>248.46420104314799</c:v>
                </c:pt>
                <c:pt idx="2617">
                  <c:v>247.34732100521501</c:v>
                </c:pt>
                <c:pt idx="2618">
                  <c:v>245.86273115220399</c:v>
                </c:pt>
                <c:pt idx="2619">
                  <c:v>246.08511142721599</c:v>
                </c:pt>
                <c:pt idx="2620">
                  <c:v>250.78615457562799</c:v>
                </c:pt>
                <c:pt idx="2621">
                  <c:v>252.052157420578</c:v>
                </c:pt>
                <c:pt idx="2622">
                  <c:v>250.280227596017</c:v>
                </c:pt>
                <c:pt idx="2623">
                  <c:v>248.12636320531001</c:v>
                </c:pt>
                <c:pt idx="2624">
                  <c:v>247.94404931247001</c:v>
                </c:pt>
                <c:pt idx="2625">
                  <c:v>250.83831199620599</c:v>
                </c:pt>
                <c:pt idx="2626">
                  <c:v>253.49573257467901</c:v>
                </c:pt>
                <c:pt idx="2627">
                  <c:v>254.39189189189099</c:v>
                </c:pt>
                <c:pt idx="2628">
                  <c:v>253.31792318634399</c:v>
                </c:pt>
                <c:pt idx="2629">
                  <c:v>252.32337600758601</c:v>
                </c:pt>
                <c:pt idx="2630">
                  <c:v>248.703176861071</c:v>
                </c:pt>
                <c:pt idx="2631">
                  <c:v>247.28568041725899</c:v>
                </c:pt>
                <c:pt idx="2632">
                  <c:v>250.362019914651</c:v>
                </c:pt>
                <c:pt idx="2633">
                  <c:v>248.12636320531001</c:v>
                </c:pt>
                <c:pt idx="2634">
                  <c:v>246.34969179705999</c:v>
                </c:pt>
                <c:pt idx="2635">
                  <c:v>247.19559032716899</c:v>
                </c:pt>
                <c:pt idx="2636">
                  <c:v>248.19440493124699</c:v>
                </c:pt>
                <c:pt idx="2637">
                  <c:v>250.88264580369801</c:v>
                </c:pt>
                <c:pt idx="2638">
                  <c:v>252.80606922712099</c:v>
                </c:pt>
                <c:pt idx="2639">
                  <c:v>251.43527738264501</c:v>
                </c:pt>
                <c:pt idx="2640">
                  <c:v>249.38264580369801</c:v>
                </c:pt>
                <c:pt idx="2641">
                  <c:v>250.499051683262</c:v>
                </c:pt>
                <c:pt idx="2642">
                  <c:v>253.91797060218099</c:v>
                </c:pt>
                <c:pt idx="2643">
                  <c:v>254.92532005689901</c:v>
                </c:pt>
                <c:pt idx="2644">
                  <c:v>251.60384068278799</c:v>
                </c:pt>
                <c:pt idx="2645">
                  <c:v>249.64912280701699</c:v>
                </c:pt>
                <c:pt idx="2646">
                  <c:v>248.90018966334699</c:v>
                </c:pt>
                <c:pt idx="2647">
                  <c:v>253.206258890469</c:v>
                </c:pt>
                <c:pt idx="2648">
                  <c:v>253.18610715979099</c:v>
                </c:pt>
                <c:pt idx="2649">
                  <c:v>251.85301090564201</c:v>
                </c:pt>
                <c:pt idx="2650">
                  <c:v>251.170934091986</c:v>
                </c:pt>
                <c:pt idx="2651">
                  <c:v>252.12897107633901</c:v>
                </c:pt>
                <c:pt idx="2652">
                  <c:v>250.716216216216</c:v>
                </c:pt>
                <c:pt idx="2653">
                  <c:v>249.47226173541901</c:v>
                </c:pt>
                <c:pt idx="2654">
                  <c:v>249.33949739212801</c:v>
                </c:pt>
                <c:pt idx="2655">
                  <c:v>250.45661450924601</c:v>
                </c:pt>
                <c:pt idx="2656">
                  <c:v>251.697961119013</c:v>
                </c:pt>
                <c:pt idx="2657">
                  <c:v>250.126600284495</c:v>
                </c:pt>
                <c:pt idx="2658">
                  <c:v>250.10763394973901</c:v>
                </c:pt>
                <c:pt idx="2659">
                  <c:v>251.97724039829299</c:v>
                </c:pt>
                <c:pt idx="2660">
                  <c:v>249.79208155523901</c:v>
                </c:pt>
                <c:pt idx="2661">
                  <c:v>250.12067330488301</c:v>
                </c:pt>
                <c:pt idx="2662">
                  <c:v>252.34400189663299</c:v>
                </c:pt>
                <c:pt idx="2663">
                  <c:v>251.56140350877101</c:v>
                </c:pt>
                <c:pt idx="2664">
                  <c:v>252.12731152204799</c:v>
                </c:pt>
                <c:pt idx="2665">
                  <c:v>250.54551920341299</c:v>
                </c:pt>
                <c:pt idx="2666">
                  <c:v>251.85277382645799</c:v>
                </c:pt>
                <c:pt idx="2667">
                  <c:v>253.59198672356499</c:v>
                </c:pt>
                <c:pt idx="2668">
                  <c:v>254.47937411095299</c:v>
                </c:pt>
                <c:pt idx="2669">
                  <c:v>258.37221431958199</c:v>
                </c:pt>
                <c:pt idx="2670">
                  <c:v>260.43504030346099</c:v>
                </c:pt>
                <c:pt idx="2671">
                  <c:v>255.44215267899401</c:v>
                </c:pt>
                <c:pt idx="2672">
                  <c:v>249.78639165481201</c:v>
                </c:pt>
                <c:pt idx="2673">
                  <c:v>250.58250355618699</c:v>
                </c:pt>
                <c:pt idx="2674">
                  <c:v>252.57539118065401</c:v>
                </c:pt>
                <c:pt idx="2675">
                  <c:v>252.948553816974</c:v>
                </c:pt>
                <c:pt idx="2676">
                  <c:v>251.67425320056799</c:v>
                </c:pt>
                <c:pt idx="2677">
                  <c:v>254.59649122806999</c:v>
                </c:pt>
                <c:pt idx="2678">
                  <c:v>257.98790896159301</c:v>
                </c:pt>
                <c:pt idx="2679">
                  <c:v>258.06922712185798</c:v>
                </c:pt>
                <c:pt idx="2680">
                  <c:v>257.58250355618702</c:v>
                </c:pt>
                <c:pt idx="2681">
                  <c:v>257.676623992413</c:v>
                </c:pt>
                <c:pt idx="2682">
                  <c:v>258.988620199146</c:v>
                </c:pt>
                <c:pt idx="2683">
                  <c:v>258.69227121858597</c:v>
                </c:pt>
                <c:pt idx="2684">
                  <c:v>258.49857752489299</c:v>
                </c:pt>
                <c:pt idx="2685">
                  <c:v>258.47392128971001</c:v>
                </c:pt>
                <c:pt idx="2686">
                  <c:v>257.29137031768602</c:v>
                </c:pt>
                <c:pt idx="2687">
                  <c:v>260.38098624940699</c:v>
                </c:pt>
                <c:pt idx="2688">
                  <c:v>261.541725936462</c:v>
                </c:pt>
                <c:pt idx="2689">
                  <c:v>259.43954480796498</c:v>
                </c:pt>
                <c:pt idx="2690">
                  <c:v>260.27999051683202</c:v>
                </c:pt>
                <c:pt idx="2691">
                  <c:v>261.13655761024103</c:v>
                </c:pt>
                <c:pt idx="2692">
                  <c:v>263.42413466097599</c:v>
                </c:pt>
                <c:pt idx="2693">
                  <c:v>268.670459933617</c:v>
                </c:pt>
                <c:pt idx="2694">
                  <c:v>269.46301564722597</c:v>
                </c:pt>
                <c:pt idx="2695">
                  <c:v>266.50877192982398</c:v>
                </c:pt>
                <c:pt idx="2696">
                  <c:v>264.56638217164499</c:v>
                </c:pt>
                <c:pt idx="2697">
                  <c:v>264.539592223802</c:v>
                </c:pt>
                <c:pt idx="2698">
                  <c:v>263.46917970602101</c:v>
                </c:pt>
                <c:pt idx="2699">
                  <c:v>261.77596017069698</c:v>
                </c:pt>
                <c:pt idx="2700">
                  <c:v>259.21052631578902</c:v>
                </c:pt>
                <c:pt idx="2701">
                  <c:v>259.69582740635298</c:v>
                </c:pt>
                <c:pt idx="2702">
                  <c:v>260.33333333333297</c:v>
                </c:pt>
                <c:pt idx="2703">
                  <c:v>262.867709815078</c:v>
                </c:pt>
                <c:pt idx="2704">
                  <c:v>263.93954480796498</c:v>
                </c:pt>
                <c:pt idx="2705">
                  <c:v>262.16951161688002</c:v>
                </c:pt>
                <c:pt idx="2706">
                  <c:v>263.11759127548601</c:v>
                </c:pt>
                <c:pt idx="2707">
                  <c:v>264.01137980085298</c:v>
                </c:pt>
                <c:pt idx="2708">
                  <c:v>261.16002844950202</c:v>
                </c:pt>
                <c:pt idx="2709">
                  <c:v>263.75343764817399</c:v>
                </c:pt>
                <c:pt idx="2710">
                  <c:v>266.39046941678498</c:v>
                </c:pt>
                <c:pt idx="2711">
                  <c:v>268.01493598861998</c:v>
                </c:pt>
                <c:pt idx="2712">
                  <c:v>265.428165007112</c:v>
                </c:pt>
                <c:pt idx="2713">
                  <c:v>262.59174964438103</c:v>
                </c:pt>
                <c:pt idx="2714">
                  <c:v>262.92958748221901</c:v>
                </c:pt>
                <c:pt idx="2715">
                  <c:v>265.43314366998499</c:v>
                </c:pt>
                <c:pt idx="2716">
                  <c:v>264.88383119961998</c:v>
                </c:pt>
                <c:pt idx="2717">
                  <c:v>267.560455192034</c:v>
                </c:pt>
                <c:pt idx="2718">
                  <c:v>271.37814129919298</c:v>
                </c:pt>
                <c:pt idx="2719">
                  <c:v>273.304172593646</c:v>
                </c:pt>
                <c:pt idx="2720">
                  <c:v>270.14390706495902</c:v>
                </c:pt>
                <c:pt idx="2721">
                  <c:v>265.60336652441902</c:v>
                </c:pt>
                <c:pt idx="2722">
                  <c:v>265.76908487434798</c:v>
                </c:pt>
                <c:pt idx="2723">
                  <c:v>266.14485538169703</c:v>
                </c:pt>
                <c:pt idx="2724">
                  <c:v>266.92128971076301</c:v>
                </c:pt>
                <c:pt idx="2725">
                  <c:v>267.496917970602</c:v>
                </c:pt>
                <c:pt idx="2726">
                  <c:v>266.49193930772799</c:v>
                </c:pt>
                <c:pt idx="2727">
                  <c:v>268.60336652441902</c:v>
                </c:pt>
                <c:pt idx="2728">
                  <c:v>273.100521574205</c:v>
                </c:pt>
                <c:pt idx="2729">
                  <c:v>271.58605974395402</c:v>
                </c:pt>
                <c:pt idx="2730">
                  <c:v>269.61142721669</c:v>
                </c:pt>
                <c:pt idx="2731">
                  <c:v>274.170459933617</c:v>
                </c:pt>
                <c:pt idx="2732">
                  <c:v>275.46230440967202</c:v>
                </c:pt>
                <c:pt idx="2733">
                  <c:v>273.83902323375997</c:v>
                </c:pt>
                <c:pt idx="2734">
                  <c:v>273.33499288762403</c:v>
                </c:pt>
                <c:pt idx="2735">
                  <c:v>273.09364627785601</c:v>
                </c:pt>
                <c:pt idx="2736">
                  <c:v>275.23352299667999</c:v>
                </c:pt>
                <c:pt idx="2737">
                  <c:v>278.050023707918</c:v>
                </c:pt>
                <c:pt idx="2738">
                  <c:v>279.28236130867703</c:v>
                </c:pt>
                <c:pt idx="2739">
                  <c:v>279.69985775248898</c:v>
                </c:pt>
                <c:pt idx="2740">
                  <c:v>280.65504978662801</c:v>
                </c:pt>
                <c:pt idx="2741">
                  <c:v>282.22641062114701</c:v>
                </c:pt>
                <c:pt idx="2742">
                  <c:v>279.38643907064898</c:v>
                </c:pt>
                <c:pt idx="2743">
                  <c:v>273.49620673304798</c:v>
                </c:pt>
                <c:pt idx="2744">
                  <c:v>272.26671408250297</c:v>
                </c:pt>
                <c:pt idx="2745">
                  <c:v>274.51232811759098</c:v>
                </c:pt>
                <c:pt idx="2746">
                  <c:v>277.77572309151202</c:v>
                </c:pt>
                <c:pt idx="2747">
                  <c:v>279.61688003793199</c:v>
                </c:pt>
                <c:pt idx="2748">
                  <c:v>278.90753911806502</c:v>
                </c:pt>
                <c:pt idx="2749">
                  <c:v>278.097913703176</c:v>
                </c:pt>
                <c:pt idx="2750">
                  <c:v>278.99241346609699</c:v>
                </c:pt>
                <c:pt idx="2751">
                  <c:v>280.663584637268</c:v>
                </c:pt>
                <c:pt idx="2752">
                  <c:v>278.99241346609699</c:v>
                </c:pt>
                <c:pt idx="2753">
                  <c:v>276.69535324798397</c:v>
                </c:pt>
                <c:pt idx="2754">
                  <c:v>274.28615457562802</c:v>
                </c:pt>
                <c:pt idx="2755">
                  <c:v>274.47107633949702</c:v>
                </c:pt>
                <c:pt idx="2756">
                  <c:v>273.809862494073</c:v>
                </c:pt>
                <c:pt idx="2757">
                  <c:v>273.25367472735797</c:v>
                </c:pt>
                <c:pt idx="2758">
                  <c:v>274.69227121858597</c:v>
                </c:pt>
                <c:pt idx="2759">
                  <c:v>272.71574205784702</c:v>
                </c:pt>
                <c:pt idx="2760">
                  <c:v>273.12754860123198</c:v>
                </c:pt>
                <c:pt idx="2761">
                  <c:v>275.428639165481</c:v>
                </c:pt>
                <c:pt idx="2762">
                  <c:v>279.06638217164499</c:v>
                </c:pt>
                <c:pt idx="2763">
                  <c:v>280.08321479374098</c:v>
                </c:pt>
                <c:pt idx="2764">
                  <c:v>284.311047889995</c:v>
                </c:pt>
                <c:pt idx="2765">
                  <c:v>286.52631578947302</c:v>
                </c:pt>
                <c:pt idx="2766">
                  <c:v>282.87482219061098</c:v>
                </c:pt>
                <c:pt idx="2767">
                  <c:v>283.30867709814999</c:v>
                </c:pt>
                <c:pt idx="2768">
                  <c:v>284.09293504030302</c:v>
                </c:pt>
                <c:pt idx="2769">
                  <c:v>282.50687529634803</c:v>
                </c:pt>
                <c:pt idx="2770">
                  <c:v>278.93504030346099</c:v>
                </c:pt>
                <c:pt idx="2771">
                  <c:v>277.66026552868601</c:v>
                </c:pt>
                <c:pt idx="2772">
                  <c:v>282.110478899952</c:v>
                </c:pt>
                <c:pt idx="2773">
                  <c:v>286.08985301090502</c:v>
                </c:pt>
                <c:pt idx="2774">
                  <c:v>285.26007586533899</c:v>
                </c:pt>
                <c:pt idx="2775">
                  <c:v>282.89971550497802</c:v>
                </c:pt>
                <c:pt idx="2776">
                  <c:v>280.33902323375997</c:v>
                </c:pt>
                <c:pt idx="2777">
                  <c:v>279.40137505926901</c:v>
                </c:pt>
                <c:pt idx="2778">
                  <c:v>282.52228544333798</c:v>
                </c:pt>
                <c:pt idx="2779">
                  <c:v>281.740161213845</c:v>
                </c:pt>
                <c:pt idx="2780">
                  <c:v>279.79208155523901</c:v>
                </c:pt>
                <c:pt idx="2781">
                  <c:v>279.87411095305799</c:v>
                </c:pt>
                <c:pt idx="2782">
                  <c:v>284.19606448553799</c:v>
                </c:pt>
                <c:pt idx="2783">
                  <c:v>285.99454717875699</c:v>
                </c:pt>
                <c:pt idx="2784">
                  <c:v>281.86533902323299</c:v>
                </c:pt>
                <c:pt idx="2785">
                  <c:v>278.03105737316201</c:v>
                </c:pt>
                <c:pt idx="2786">
                  <c:v>280.37150308202899</c:v>
                </c:pt>
                <c:pt idx="2787">
                  <c:v>285.52441915599798</c:v>
                </c:pt>
                <c:pt idx="2788">
                  <c:v>286.26742532005602</c:v>
                </c:pt>
                <c:pt idx="2789">
                  <c:v>284.50592697961099</c:v>
                </c:pt>
                <c:pt idx="2790">
                  <c:v>285.68302513039299</c:v>
                </c:pt>
                <c:pt idx="2791">
                  <c:v>290.26173541962999</c:v>
                </c:pt>
                <c:pt idx="2792">
                  <c:v>289.06827880511997</c:v>
                </c:pt>
                <c:pt idx="2793">
                  <c:v>283.07136083451798</c:v>
                </c:pt>
                <c:pt idx="2794">
                  <c:v>282.34566145092401</c:v>
                </c:pt>
                <c:pt idx="2795">
                  <c:v>283.28141299193902</c:v>
                </c:pt>
                <c:pt idx="2796">
                  <c:v>284.01493598861998</c:v>
                </c:pt>
                <c:pt idx="2797">
                  <c:v>286.82053105737299</c:v>
                </c:pt>
                <c:pt idx="2798">
                  <c:v>289.241109530583</c:v>
                </c:pt>
                <c:pt idx="2799">
                  <c:v>288.42745376955901</c:v>
                </c:pt>
                <c:pt idx="2800">
                  <c:v>286.63229018492098</c:v>
                </c:pt>
                <c:pt idx="2801">
                  <c:v>284.38383119961998</c:v>
                </c:pt>
                <c:pt idx="2802">
                  <c:v>287.41346609767601</c:v>
                </c:pt>
                <c:pt idx="2803">
                  <c:v>287.70673304883798</c:v>
                </c:pt>
                <c:pt idx="2804">
                  <c:v>280.37174016121298</c:v>
                </c:pt>
                <c:pt idx="2805">
                  <c:v>275.44547178757699</c:v>
                </c:pt>
                <c:pt idx="2806">
                  <c:v>277.09293504030302</c:v>
                </c:pt>
                <c:pt idx="2807">
                  <c:v>278.918918918918</c:v>
                </c:pt>
                <c:pt idx="2808">
                  <c:v>281.31009957325699</c:v>
                </c:pt>
                <c:pt idx="2809">
                  <c:v>281.60763394973901</c:v>
                </c:pt>
                <c:pt idx="2810">
                  <c:v>284.925082977714</c:v>
                </c:pt>
                <c:pt idx="2811">
                  <c:v>286.22143195827402</c:v>
                </c:pt>
                <c:pt idx="2812">
                  <c:v>293.95519203413897</c:v>
                </c:pt>
                <c:pt idx="2813">
                  <c:v>301.70602181128402</c:v>
                </c:pt>
                <c:pt idx="2814">
                  <c:v>298.34376481744903</c:v>
                </c:pt>
                <c:pt idx="2815">
                  <c:v>292.17852062588901</c:v>
                </c:pt>
                <c:pt idx="2816">
                  <c:v>289.27856804172501</c:v>
                </c:pt>
                <c:pt idx="2817">
                  <c:v>289.61735419630099</c:v>
                </c:pt>
                <c:pt idx="2818">
                  <c:v>289.45779990516797</c:v>
                </c:pt>
                <c:pt idx="2819">
                  <c:v>287.00142247510598</c:v>
                </c:pt>
                <c:pt idx="2820">
                  <c:v>284.81578947368399</c:v>
                </c:pt>
                <c:pt idx="2821">
                  <c:v>281.97060218112802</c:v>
                </c:pt>
                <c:pt idx="2822">
                  <c:v>280.792318634423</c:v>
                </c:pt>
                <c:pt idx="2823">
                  <c:v>281.06851588430499</c:v>
                </c:pt>
                <c:pt idx="2824">
                  <c:v>282.88999525841598</c:v>
                </c:pt>
                <c:pt idx="2825">
                  <c:v>284.480796586059</c:v>
                </c:pt>
                <c:pt idx="2826">
                  <c:v>285.15149359886198</c:v>
                </c:pt>
                <c:pt idx="2827">
                  <c:v>283.301564722617</c:v>
                </c:pt>
                <c:pt idx="2828">
                  <c:v>283.45021337126502</c:v>
                </c:pt>
                <c:pt idx="2829">
                  <c:v>286.56733048838299</c:v>
                </c:pt>
                <c:pt idx="2830">
                  <c:v>289.75509720246498</c:v>
                </c:pt>
                <c:pt idx="2831">
                  <c:v>287.33712660028402</c:v>
                </c:pt>
                <c:pt idx="2832">
                  <c:v>282.08416311047802</c:v>
                </c:pt>
                <c:pt idx="2833">
                  <c:v>282.62731152204799</c:v>
                </c:pt>
                <c:pt idx="2834">
                  <c:v>287.745851114272</c:v>
                </c:pt>
                <c:pt idx="2835">
                  <c:v>290.75130393551399</c:v>
                </c:pt>
                <c:pt idx="2836">
                  <c:v>288.489568515884</c:v>
                </c:pt>
                <c:pt idx="2837">
                  <c:v>286.49288762446599</c:v>
                </c:pt>
                <c:pt idx="2838">
                  <c:v>285.70199146514898</c:v>
                </c:pt>
                <c:pt idx="2839">
                  <c:v>286.03461356092902</c:v>
                </c:pt>
                <c:pt idx="2840">
                  <c:v>291.32527264106199</c:v>
                </c:pt>
                <c:pt idx="2841">
                  <c:v>293.044333807491</c:v>
                </c:pt>
                <c:pt idx="2842">
                  <c:v>291.110004741583</c:v>
                </c:pt>
                <c:pt idx="2843">
                  <c:v>289.239687055476</c:v>
                </c:pt>
                <c:pt idx="2844">
                  <c:v>290.177098150782</c:v>
                </c:pt>
                <c:pt idx="2845">
                  <c:v>292.33214793741098</c:v>
                </c:pt>
                <c:pt idx="2846">
                  <c:v>291.26529160739602</c:v>
                </c:pt>
                <c:pt idx="2847">
                  <c:v>290.7271218587</c:v>
                </c:pt>
                <c:pt idx="2848">
                  <c:v>290.27927927927902</c:v>
                </c:pt>
                <c:pt idx="2849">
                  <c:v>288.00379326695099</c:v>
                </c:pt>
                <c:pt idx="2850">
                  <c:v>290.02773826458002</c:v>
                </c:pt>
                <c:pt idx="2851">
                  <c:v>291.54670459933601</c:v>
                </c:pt>
                <c:pt idx="2852">
                  <c:v>291.04457088667601</c:v>
                </c:pt>
                <c:pt idx="2853">
                  <c:v>292.49786628733898</c:v>
                </c:pt>
                <c:pt idx="2854">
                  <c:v>295.048601232811</c:v>
                </c:pt>
                <c:pt idx="2855">
                  <c:v>297.63774300616399</c:v>
                </c:pt>
                <c:pt idx="2856">
                  <c:v>293.36889521099999</c:v>
                </c:pt>
                <c:pt idx="2857">
                  <c:v>292.63442389758097</c:v>
                </c:pt>
                <c:pt idx="2858">
                  <c:v>297.293266951161</c:v>
                </c:pt>
                <c:pt idx="2859">
                  <c:v>301.99620673304798</c:v>
                </c:pt>
                <c:pt idx="2860">
                  <c:v>297.65433854907502</c:v>
                </c:pt>
                <c:pt idx="2861">
                  <c:v>296.105263157894</c:v>
                </c:pt>
                <c:pt idx="2862">
                  <c:v>302.14153627311498</c:v>
                </c:pt>
                <c:pt idx="2863">
                  <c:v>306.417733522996</c:v>
                </c:pt>
                <c:pt idx="2864">
                  <c:v>303.24703651019399</c:v>
                </c:pt>
                <c:pt idx="2865">
                  <c:v>299.559981033665</c:v>
                </c:pt>
                <c:pt idx="2866">
                  <c:v>298.23636794689401</c:v>
                </c:pt>
                <c:pt idx="2867">
                  <c:v>301.76078710289198</c:v>
                </c:pt>
                <c:pt idx="2868">
                  <c:v>305.61688003793199</c:v>
                </c:pt>
                <c:pt idx="2869">
                  <c:v>304.67259364627699</c:v>
                </c:pt>
                <c:pt idx="2870">
                  <c:v>302.80014224751</c:v>
                </c:pt>
                <c:pt idx="2871">
                  <c:v>302.65504978662801</c:v>
                </c:pt>
                <c:pt idx="2872">
                  <c:v>302.85490753911802</c:v>
                </c:pt>
                <c:pt idx="2873">
                  <c:v>301.44428639165397</c:v>
                </c:pt>
                <c:pt idx="2874">
                  <c:v>302.91228070175401</c:v>
                </c:pt>
                <c:pt idx="2875">
                  <c:v>308.32361308677002</c:v>
                </c:pt>
                <c:pt idx="2876">
                  <c:v>311.282835467045</c:v>
                </c:pt>
                <c:pt idx="2877">
                  <c:v>309.52157420578402</c:v>
                </c:pt>
                <c:pt idx="2878">
                  <c:v>303.552157420578</c:v>
                </c:pt>
                <c:pt idx="2879">
                  <c:v>301.38264580369798</c:v>
                </c:pt>
                <c:pt idx="2880">
                  <c:v>307.85277382645802</c:v>
                </c:pt>
                <c:pt idx="2881">
                  <c:v>314.35253674727301</c:v>
                </c:pt>
                <c:pt idx="2882">
                  <c:v>312.52987197724002</c:v>
                </c:pt>
                <c:pt idx="2883">
                  <c:v>306.93504030346099</c:v>
                </c:pt>
                <c:pt idx="2884">
                  <c:v>306.58795637742998</c:v>
                </c:pt>
                <c:pt idx="2885">
                  <c:v>310.110478899952</c:v>
                </c:pt>
                <c:pt idx="2886">
                  <c:v>310.74608819345599</c:v>
                </c:pt>
                <c:pt idx="2887">
                  <c:v>308.10668563300101</c:v>
                </c:pt>
                <c:pt idx="2888">
                  <c:v>307.44926505452798</c:v>
                </c:pt>
                <c:pt idx="2889">
                  <c:v>310.599573257467</c:v>
                </c:pt>
                <c:pt idx="2890">
                  <c:v>311.96277856804102</c:v>
                </c:pt>
                <c:pt idx="2891">
                  <c:v>307.88643907064898</c:v>
                </c:pt>
                <c:pt idx="2892">
                  <c:v>304.39853010905603</c:v>
                </c:pt>
                <c:pt idx="2893">
                  <c:v>315.048601232811</c:v>
                </c:pt>
                <c:pt idx="2894">
                  <c:v>324.07396870554697</c:v>
                </c:pt>
                <c:pt idx="2895">
                  <c:v>322.34210526315701</c:v>
                </c:pt>
                <c:pt idx="2896">
                  <c:v>318.05239449976199</c:v>
                </c:pt>
                <c:pt idx="2897">
                  <c:v>312.68658131815999</c:v>
                </c:pt>
                <c:pt idx="2898">
                  <c:v>313.81294452346998</c:v>
                </c:pt>
                <c:pt idx="2899">
                  <c:v>316.19227121858597</c:v>
                </c:pt>
                <c:pt idx="2900">
                  <c:v>318.84803224276902</c:v>
                </c:pt>
                <c:pt idx="2901">
                  <c:v>323.07230915125598</c:v>
                </c:pt>
                <c:pt idx="2902">
                  <c:v>319.58463726884702</c:v>
                </c:pt>
                <c:pt idx="2903">
                  <c:v>316.94476055002298</c:v>
                </c:pt>
                <c:pt idx="2904">
                  <c:v>315.490042674253</c:v>
                </c:pt>
                <c:pt idx="2905">
                  <c:v>313.52631578947302</c:v>
                </c:pt>
                <c:pt idx="2906">
                  <c:v>308.69677572309098</c:v>
                </c:pt>
                <c:pt idx="2907">
                  <c:v>308.65765765765701</c:v>
                </c:pt>
                <c:pt idx="2908">
                  <c:v>316.42318634423799</c:v>
                </c:pt>
                <c:pt idx="2909">
                  <c:v>322.46728307254602</c:v>
                </c:pt>
                <c:pt idx="2910">
                  <c:v>323.70768136557598</c:v>
                </c:pt>
                <c:pt idx="2911">
                  <c:v>320.31365576102399</c:v>
                </c:pt>
                <c:pt idx="2912">
                  <c:v>320.45851114272102</c:v>
                </c:pt>
                <c:pt idx="2913">
                  <c:v>322.93575154101399</c:v>
                </c:pt>
                <c:pt idx="2914">
                  <c:v>323.68634423897498</c:v>
                </c:pt>
                <c:pt idx="2915">
                  <c:v>318.87434803224198</c:v>
                </c:pt>
                <c:pt idx="2916">
                  <c:v>315.63323850165898</c:v>
                </c:pt>
                <c:pt idx="2917">
                  <c:v>314.32859174964398</c:v>
                </c:pt>
                <c:pt idx="2918">
                  <c:v>318.93930772878099</c:v>
                </c:pt>
                <c:pt idx="2919">
                  <c:v>324.94120436225597</c:v>
                </c:pt>
                <c:pt idx="2920">
                  <c:v>324.33404457088602</c:v>
                </c:pt>
                <c:pt idx="2921">
                  <c:v>325.66026552868601</c:v>
                </c:pt>
                <c:pt idx="2922">
                  <c:v>327.64011379800797</c:v>
                </c:pt>
                <c:pt idx="2923">
                  <c:v>327.08914177335203</c:v>
                </c:pt>
                <c:pt idx="2924">
                  <c:v>327.21550497866201</c:v>
                </c:pt>
                <c:pt idx="2925">
                  <c:v>323.73470839260301</c:v>
                </c:pt>
                <c:pt idx="2926">
                  <c:v>320.060929350403</c:v>
                </c:pt>
                <c:pt idx="2927">
                  <c:v>319.83357041251702</c:v>
                </c:pt>
                <c:pt idx="2928">
                  <c:v>322.038643907064</c:v>
                </c:pt>
                <c:pt idx="2929">
                  <c:v>325.77880512091002</c:v>
                </c:pt>
                <c:pt idx="2930">
                  <c:v>322.32029397818798</c:v>
                </c:pt>
                <c:pt idx="2931">
                  <c:v>318.16216216216202</c:v>
                </c:pt>
                <c:pt idx="2932">
                  <c:v>314.71479374110902</c:v>
                </c:pt>
                <c:pt idx="2933">
                  <c:v>310.23162636320501</c:v>
                </c:pt>
                <c:pt idx="2934">
                  <c:v>316.04243717401602</c:v>
                </c:pt>
                <c:pt idx="2935">
                  <c:v>317.76149834044497</c:v>
                </c:pt>
                <c:pt idx="2936">
                  <c:v>317.49027975343699</c:v>
                </c:pt>
                <c:pt idx="2937">
                  <c:v>320.05286865813099</c:v>
                </c:pt>
                <c:pt idx="2938">
                  <c:v>326.01612138454198</c:v>
                </c:pt>
                <c:pt idx="2939">
                  <c:v>325.27027027026998</c:v>
                </c:pt>
                <c:pt idx="2940">
                  <c:v>324.490042674253</c:v>
                </c:pt>
                <c:pt idx="2941">
                  <c:v>319.861545756282</c:v>
                </c:pt>
                <c:pt idx="2942">
                  <c:v>317.612612612612</c:v>
                </c:pt>
                <c:pt idx="2943">
                  <c:v>320.11735419630099</c:v>
                </c:pt>
                <c:pt idx="2944">
                  <c:v>319.34874348032201</c:v>
                </c:pt>
                <c:pt idx="2945">
                  <c:v>321.545993361782</c:v>
                </c:pt>
                <c:pt idx="2946">
                  <c:v>329.02963489805501</c:v>
                </c:pt>
                <c:pt idx="2947">
                  <c:v>332.03105737316201</c:v>
                </c:pt>
                <c:pt idx="2948">
                  <c:v>331.53769559032702</c:v>
                </c:pt>
                <c:pt idx="2949">
                  <c:v>328.99881460407698</c:v>
                </c:pt>
                <c:pt idx="2950">
                  <c:v>326.17946894262599</c:v>
                </c:pt>
                <c:pt idx="2951">
                  <c:v>328.11024182076801</c:v>
                </c:pt>
                <c:pt idx="2952">
                  <c:v>331.94191559980999</c:v>
                </c:pt>
                <c:pt idx="2953">
                  <c:v>333.18302513039299</c:v>
                </c:pt>
                <c:pt idx="2954">
                  <c:v>332.19061166429498</c:v>
                </c:pt>
                <c:pt idx="2955">
                  <c:v>331.00853485063999</c:v>
                </c:pt>
                <c:pt idx="2956">
                  <c:v>331.72498814604</c:v>
                </c:pt>
                <c:pt idx="2957">
                  <c:v>339.801090564248</c:v>
                </c:pt>
                <c:pt idx="2958">
                  <c:v>345.06756756756698</c:v>
                </c:pt>
                <c:pt idx="2959">
                  <c:v>343.75106685632898</c:v>
                </c:pt>
                <c:pt idx="2960">
                  <c:v>335.21455666192497</c:v>
                </c:pt>
                <c:pt idx="2961">
                  <c:v>328.24940730203798</c:v>
                </c:pt>
                <c:pt idx="2962">
                  <c:v>324.71431958274002</c:v>
                </c:pt>
                <c:pt idx="2963">
                  <c:v>321.247510668563</c:v>
                </c:pt>
                <c:pt idx="2964">
                  <c:v>320.52252252252202</c:v>
                </c:pt>
                <c:pt idx="2965">
                  <c:v>320.67211948790799</c:v>
                </c:pt>
                <c:pt idx="2966">
                  <c:v>325.13323850165898</c:v>
                </c:pt>
                <c:pt idx="2967">
                  <c:v>326.93741109530498</c:v>
                </c:pt>
                <c:pt idx="2968">
                  <c:v>326.90279753437602</c:v>
                </c:pt>
                <c:pt idx="2969">
                  <c:v>331.33854907539097</c:v>
                </c:pt>
                <c:pt idx="2970">
                  <c:v>334.536984352773</c:v>
                </c:pt>
                <c:pt idx="2971">
                  <c:v>331.13963963963897</c:v>
                </c:pt>
                <c:pt idx="2972">
                  <c:v>326.81768610715898</c:v>
                </c:pt>
                <c:pt idx="2973">
                  <c:v>327.75248933143598</c:v>
                </c:pt>
                <c:pt idx="2974">
                  <c:v>332.31721194878997</c:v>
                </c:pt>
                <c:pt idx="2975">
                  <c:v>333.120436225699</c:v>
                </c:pt>
                <c:pt idx="2976">
                  <c:v>331.43527738264498</c:v>
                </c:pt>
                <c:pt idx="2977">
                  <c:v>333.58416311047802</c:v>
                </c:pt>
                <c:pt idx="2978">
                  <c:v>338.301090564248</c:v>
                </c:pt>
                <c:pt idx="2979">
                  <c:v>341.29611190137501</c:v>
                </c:pt>
                <c:pt idx="2980">
                  <c:v>336.91797060218101</c:v>
                </c:pt>
                <c:pt idx="2981">
                  <c:v>331.16642958748201</c:v>
                </c:pt>
                <c:pt idx="2982">
                  <c:v>330.69772403982898</c:v>
                </c:pt>
                <c:pt idx="2983">
                  <c:v>330.42176386913201</c:v>
                </c:pt>
                <c:pt idx="2984">
                  <c:v>331.83594120436197</c:v>
                </c:pt>
                <c:pt idx="2985">
                  <c:v>335.14414414414398</c:v>
                </c:pt>
                <c:pt idx="2986">
                  <c:v>344.13940256045498</c:v>
                </c:pt>
                <c:pt idx="2987">
                  <c:v>349.19061166429498</c:v>
                </c:pt>
                <c:pt idx="2988">
                  <c:v>351.97605500237</c:v>
                </c:pt>
                <c:pt idx="2989">
                  <c:v>353.45068752963402</c:v>
                </c:pt>
                <c:pt idx="2990">
                  <c:v>350.63750592697897</c:v>
                </c:pt>
                <c:pt idx="2991">
                  <c:v>343.50948316737703</c:v>
                </c:pt>
                <c:pt idx="2992">
                  <c:v>339.916785206258</c:v>
                </c:pt>
                <c:pt idx="2993">
                  <c:v>339.17259364627699</c:v>
                </c:pt>
                <c:pt idx="2994">
                  <c:v>343.23304883831202</c:v>
                </c:pt>
                <c:pt idx="2995">
                  <c:v>346.04978662873401</c:v>
                </c:pt>
                <c:pt idx="2996">
                  <c:v>342.76766239924098</c:v>
                </c:pt>
                <c:pt idx="2997">
                  <c:v>344.22996680891401</c:v>
                </c:pt>
                <c:pt idx="2998">
                  <c:v>344.986012328117</c:v>
                </c:pt>
                <c:pt idx="2999">
                  <c:v>341.63963963963897</c:v>
                </c:pt>
                <c:pt idx="3000">
                  <c:v>340.65481270744402</c:v>
                </c:pt>
                <c:pt idx="3001">
                  <c:v>339.59340919867202</c:v>
                </c:pt>
                <c:pt idx="3002">
                  <c:v>337.497392128971</c:v>
                </c:pt>
                <c:pt idx="3003">
                  <c:v>338.72356567093402</c:v>
                </c:pt>
                <c:pt idx="3004">
                  <c:v>341.01730678046403</c:v>
                </c:pt>
                <c:pt idx="3005">
                  <c:v>343.20128022759599</c:v>
                </c:pt>
                <c:pt idx="3006">
                  <c:v>346.11853959222299</c:v>
                </c:pt>
                <c:pt idx="3007">
                  <c:v>354.51256519677497</c:v>
                </c:pt>
                <c:pt idx="3008">
                  <c:v>357.83025130393497</c:v>
                </c:pt>
                <c:pt idx="3009">
                  <c:v>357.19677572309098</c:v>
                </c:pt>
                <c:pt idx="3010">
                  <c:v>353.02275960170601</c:v>
                </c:pt>
                <c:pt idx="3011">
                  <c:v>346.46941678520602</c:v>
                </c:pt>
                <c:pt idx="3012">
                  <c:v>348.07539118065398</c:v>
                </c:pt>
                <c:pt idx="3013">
                  <c:v>355.19890943575098</c:v>
                </c:pt>
                <c:pt idx="3014">
                  <c:v>361.73423423423401</c:v>
                </c:pt>
                <c:pt idx="3015">
                  <c:v>356.98482693219501</c:v>
                </c:pt>
                <c:pt idx="3016">
                  <c:v>350.24893314367</c:v>
                </c:pt>
                <c:pt idx="3017">
                  <c:v>348.00853485063999</c:v>
                </c:pt>
                <c:pt idx="3018">
                  <c:v>351.22783309625402</c:v>
                </c:pt>
                <c:pt idx="3019">
                  <c:v>352.59601706970102</c:v>
                </c:pt>
                <c:pt idx="3020">
                  <c:v>351.189663347558</c:v>
                </c:pt>
                <c:pt idx="3021">
                  <c:v>347.01896633475502</c:v>
                </c:pt>
                <c:pt idx="3022">
                  <c:v>347.75509720246498</c:v>
                </c:pt>
                <c:pt idx="3023">
                  <c:v>350.13963963963897</c:v>
                </c:pt>
                <c:pt idx="3024">
                  <c:v>348.983404457088</c:v>
                </c:pt>
                <c:pt idx="3025">
                  <c:v>352.01398767188198</c:v>
                </c:pt>
                <c:pt idx="3026">
                  <c:v>354.08534850640098</c:v>
                </c:pt>
                <c:pt idx="3027">
                  <c:v>360.22095779990502</c:v>
                </c:pt>
                <c:pt idx="3028">
                  <c:v>358.729729729729</c:v>
                </c:pt>
                <c:pt idx="3029">
                  <c:v>356.160976766239</c:v>
                </c:pt>
                <c:pt idx="3030">
                  <c:v>351.95661450924598</c:v>
                </c:pt>
                <c:pt idx="3031">
                  <c:v>350.82479848269298</c:v>
                </c:pt>
                <c:pt idx="3032">
                  <c:v>356.98885727832999</c:v>
                </c:pt>
                <c:pt idx="3033">
                  <c:v>365.09933617828301</c:v>
                </c:pt>
                <c:pt idx="3034">
                  <c:v>361.95661450924598</c:v>
                </c:pt>
                <c:pt idx="3035">
                  <c:v>354.52631578947302</c:v>
                </c:pt>
                <c:pt idx="3036">
                  <c:v>356.36865813181601</c:v>
                </c:pt>
                <c:pt idx="3037">
                  <c:v>356.43006164058698</c:v>
                </c:pt>
                <c:pt idx="3038">
                  <c:v>356.70388809862402</c:v>
                </c:pt>
                <c:pt idx="3039">
                  <c:v>356.06922712185798</c:v>
                </c:pt>
                <c:pt idx="3040">
                  <c:v>359.32645803698398</c:v>
                </c:pt>
                <c:pt idx="3041">
                  <c:v>365.23613086770899</c:v>
                </c:pt>
                <c:pt idx="3042">
                  <c:v>364.40042674253198</c:v>
                </c:pt>
                <c:pt idx="3043">
                  <c:v>368.040777619724</c:v>
                </c:pt>
                <c:pt idx="3044">
                  <c:v>371.46894262683702</c:v>
                </c:pt>
                <c:pt idx="3045">
                  <c:v>369.89307728781398</c:v>
                </c:pt>
                <c:pt idx="3046">
                  <c:v>361.19298245613999</c:v>
                </c:pt>
                <c:pt idx="3047">
                  <c:v>360.84068278805103</c:v>
                </c:pt>
                <c:pt idx="3048">
                  <c:v>365.03603603603602</c:v>
                </c:pt>
                <c:pt idx="3049">
                  <c:v>366.92105263157799</c:v>
                </c:pt>
                <c:pt idx="3050">
                  <c:v>368.69155998103298</c:v>
                </c:pt>
                <c:pt idx="3051">
                  <c:v>369.796348980559</c:v>
                </c:pt>
                <c:pt idx="3052">
                  <c:v>366.70531057373103</c:v>
                </c:pt>
                <c:pt idx="3053">
                  <c:v>365.47202465623502</c:v>
                </c:pt>
                <c:pt idx="3054">
                  <c:v>365.73826458036899</c:v>
                </c:pt>
                <c:pt idx="3055">
                  <c:v>370.21266002844902</c:v>
                </c:pt>
                <c:pt idx="3056">
                  <c:v>371.16429587482202</c:v>
                </c:pt>
                <c:pt idx="3057">
                  <c:v>371.91180654338501</c:v>
                </c:pt>
                <c:pt idx="3058">
                  <c:v>376.243243243243</c:v>
                </c:pt>
                <c:pt idx="3059">
                  <c:v>377.76386913228998</c:v>
                </c:pt>
                <c:pt idx="3060">
                  <c:v>371.63679468942598</c:v>
                </c:pt>
                <c:pt idx="3061">
                  <c:v>365.08771929824502</c:v>
                </c:pt>
                <c:pt idx="3062">
                  <c:v>364.76955903271602</c:v>
                </c:pt>
                <c:pt idx="3063">
                  <c:v>368.934329065908</c:v>
                </c:pt>
                <c:pt idx="3064">
                  <c:v>375.68515884305299</c:v>
                </c:pt>
                <c:pt idx="3065">
                  <c:v>379.536984352773</c:v>
                </c:pt>
                <c:pt idx="3066">
                  <c:v>376.302038880986</c:v>
                </c:pt>
                <c:pt idx="3067">
                  <c:v>375.19867235656699</c:v>
                </c:pt>
                <c:pt idx="3068">
                  <c:v>376.415125651967</c:v>
                </c:pt>
                <c:pt idx="3069">
                  <c:v>375.76529160739602</c:v>
                </c:pt>
                <c:pt idx="3070">
                  <c:v>374.51612138454198</c:v>
                </c:pt>
                <c:pt idx="3071">
                  <c:v>375.59649122807002</c:v>
                </c:pt>
                <c:pt idx="3072">
                  <c:v>372.53508771929802</c:v>
                </c:pt>
                <c:pt idx="3073">
                  <c:v>366.95211000474097</c:v>
                </c:pt>
                <c:pt idx="3074">
                  <c:v>364.25438596491199</c:v>
                </c:pt>
                <c:pt idx="3075">
                  <c:v>370.181365576102</c:v>
                </c:pt>
                <c:pt idx="3076">
                  <c:v>377.119250829777</c:v>
                </c:pt>
                <c:pt idx="3077">
                  <c:v>379.174490279753</c:v>
                </c:pt>
                <c:pt idx="3078">
                  <c:v>376.52441915599798</c:v>
                </c:pt>
                <c:pt idx="3079">
                  <c:v>374.52015173067798</c:v>
                </c:pt>
                <c:pt idx="3080">
                  <c:v>376.68658131815999</c:v>
                </c:pt>
                <c:pt idx="3081">
                  <c:v>373.21242294926498</c:v>
                </c:pt>
                <c:pt idx="3082">
                  <c:v>372.12968231389198</c:v>
                </c:pt>
                <c:pt idx="3083">
                  <c:v>372.46823138928403</c:v>
                </c:pt>
                <c:pt idx="3084">
                  <c:v>371.25486012328099</c:v>
                </c:pt>
                <c:pt idx="3085">
                  <c:v>369.58416311047802</c:v>
                </c:pt>
                <c:pt idx="3086">
                  <c:v>373.621858700806</c:v>
                </c:pt>
                <c:pt idx="3087">
                  <c:v>374.41868183973401</c:v>
                </c:pt>
                <c:pt idx="3088">
                  <c:v>366.11853959222299</c:v>
                </c:pt>
                <c:pt idx="3089">
                  <c:v>364.88430535798898</c:v>
                </c:pt>
                <c:pt idx="3090">
                  <c:v>369.50521574205698</c:v>
                </c:pt>
                <c:pt idx="3091">
                  <c:v>371.89568515884298</c:v>
                </c:pt>
                <c:pt idx="3092">
                  <c:v>375.27358937885202</c:v>
                </c:pt>
                <c:pt idx="3093">
                  <c:v>375.25296348980498</c:v>
                </c:pt>
                <c:pt idx="3094">
                  <c:v>372.53769559032702</c:v>
                </c:pt>
                <c:pt idx="3095">
                  <c:v>370.95827406353698</c:v>
                </c:pt>
                <c:pt idx="3096">
                  <c:v>374.85277382645802</c:v>
                </c:pt>
                <c:pt idx="3097">
                  <c:v>379.58274063537198</c:v>
                </c:pt>
                <c:pt idx="3098">
                  <c:v>375.38857278330897</c:v>
                </c:pt>
                <c:pt idx="3099">
                  <c:v>374.26529160739602</c:v>
                </c:pt>
                <c:pt idx="3100">
                  <c:v>375.83570412517702</c:v>
                </c:pt>
                <c:pt idx="3101">
                  <c:v>375.50568990042598</c:v>
                </c:pt>
                <c:pt idx="3102">
                  <c:v>373.545993361782</c:v>
                </c:pt>
                <c:pt idx="3103">
                  <c:v>373.44642010431397</c:v>
                </c:pt>
                <c:pt idx="3104">
                  <c:v>375.02370791844402</c:v>
                </c:pt>
                <c:pt idx="3105">
                  <c:v>376.83119962067298</c:v>
                </c:pt>
                <c:pt idx="3106">
                  <c:v>372.95116168800303</c:v>
                </c:pt>
                <c:pt idx="3107">
                  <c:v>373.42128971076301</c:v>
                </c:pt>
                <c:pt idx="3108">
                  <c:v>374.04457088667601</c:v>
                </c:pt>
                <c:pt idx="3109">
                  <c:v>375.67425320056901</c:v>
                </c:pt>
                <c:pt idx="3110">
                  <c:v>383.45448079658598</c:v>
                </c:pt>
                <c:pt idx="3111">
                  <c:v>382.31910858226598</c:v>
                </c:pt>
                <c:pt idx="3112">
                  <c:v>375.88335704125097</c:v>
                </c:pt>
                <c:pt idx="3113">
                  <c:v>376.20886676149797</c:v>
                </c:pt>
                <c:pt idx="3114">
                  <c:v>381.71360834518703</c:v>
                </c:pt>
                <c:pt idx="3115">
                  <c:v>384.09246088193402</c:v>
                </c:pt>
                <c:pt idx="3116">
                  <c:v>384.02844950213301</c:v>
                </c:pt>
                <c:pt idx="3117">
                  <c:v>383.18373636794598</c:v>
                </c:pt>
                <c:pt idx="3118">
                  <c:v>378.68207681365499</c:v>
                </c:pt>
                <c:pt idx="3119">
                  <c:v>374.37411095305799</c:v>
                </c:pt>
                <c:pt idx="3120">
                  <c:v>378.24087245139799</c:v>
                </c:pt>
                <c:pt idx="3121">
                  <c:v>379.358463726884</c:v>
                </c:pt>
                <c:pt idx="3122">
                  <c:v>376.85609293504001</c:v>
                </c:pt>
                <c:pt idx="3123">
                  <c:v>376.50474158368797</c:v>
                </c:pt>
                <c:pt idx="3124">
                  <c:v>378.68681839734398</c:v>
                </c:pt>
                <c:pt idx="3125">
                  <c:v>382.63537221431898</c:v>
                </c:pt>
                <c:pt idx="3126">
                  <c:v>383.50924608819298</c:v>
                </c:pt>
                <c:pt idx="3127">
                  <c:v>377.02939781887102</c:v>
                </c:pt>
                <c:pt idx="3128">
                  <c:v>376.93124703651</c:v>
                </c:pt>
                <c:pt idx="3129">
                  <c:v>382.03366524419101</c:v>
                </c:pt>
                <c:pt idx="3130">
                  <c:v>383.58084400189603</c:v>
                </c:pt>
                <c:pt idx="3131">
                  <c:v>384.56495969653798</c:v>
                </c:pt>
                <c:pt idx="3132">
                  <c:v>384.17899478425699</c:v>
                </c:pt>
                <c:pt idx="3133">
                  <c:v>385.16808914177301</c:v>
                </c:pt>
                <c:pt idx="3134">
                  <c:v>385.677572309151</c:v>
                </c:pt>
                <c:pt idx="3135">
                  <c:v>383.77833096254102</c:v>
                </c:pt>
                <c:pt idx="3136">
                  <c:v>381.58131816026503</c:v>
                </c:pt>
                <c:pt idx="3137">
                  <c:v>384.600521574205</c:v>
                </c:pt>
                <c:pt idx="3138">
                  <c:v>387.76339497392098</c:v>
                </c:pt>
                <c:pt idx="3139">
                  <c:v>392.248458985301</c:v>
                </c:pt>
                <c:pt idx="3140">
                  <c:v>392.44855381697403</c:v>
                </c:pt>
                <c:pt idx="3141">
                  <c:v>390.51161688003702</c:v>
                </c:pt>
                <c:pt idx="3142">
                  <c:v>385.38833570412498</c:v>
                </c:pt>
                <c:pt idx="3143">
                  <c:v>382.54931247036501</c:v>
                </c:pt>
                <c:pt idx="3144">
                  <c:v>379.49549549549499</c:v>
                </c:pt>
                <c:pt idx="3145">
                  <c:v>376.610004741583</c:v>
                </c:pt>
                <c:pt idx="3146">
                  <c:v>377.041251778093</c:v>
                </c:pt>
                <c:pt idx="3147">
                  <c:v>375.84447605500202</c:v>
                </c:pt>
                <c:pt idx="3148">
                  <c:v>382.20365101943997</c:v>
                </c:pt>
                <c:pt idx="3149">
                  <c:v>390.93100995732499</c:v>
                </c:pt>
                <c:pt idx="3150">
                  <c:v>391.15339023233702</c:v>
                </c:pt>
                <c:pt idx="3151">
                  <c:v>389.09127548601202</c:v>
                </c:pt>
                <c:pt idx="3152">
                  <c:v>395.11640587956299</c:v>
                </c:pt>
                <c:pt idx="3153">
                  <c:v>400.25746799430999</c:v>
                </c:pt>
                <c:pt idx="3154">
                  <c:v>393.32954006638198</c:v>
                </c:pt>
                <c:pt idx="3155">
                  <c:v>393.74703651019399</c:v>
                </c:pt>
                <c:pt idx="3156">
                  <c:v>395.07539118065398</c:v>
                </c:pt>
                <c:pt idx="3157">
                  <c:v>390.85656709340901</c:v>
                </c:pt>
                <c:pt idx="3158">
                  <c:v>389.06614509245998</c:v>
                </c:pt>
                <c:pt idx="3159">
                  <c:v>392.18776671408199</c:v>
                </c:pt>
                <c:pt idx="3160">
                  <c:v>389.75462304409598</c:v>
                </c:pt>
                <c:pt idx="3161">
                  <c:v>390.16856330014201</c:v>
                </c:pt>
                <c:pt idx="3162">
                  <c:v>391.31436699857699</c:v>
                </c:pt>
                <c:pt idx="3163">
                  <c:v>388.75533428164999</c:v>
                </c:pt>
                <c:pt idx="3164">
                  <c:v>392.94642010431397</c:v>
                </c:pt>
                <c:pt idx="3165">
                  <c:v>395.02347083926003</c:v>
                </c:pt>
                <c:pt idx="3166">
                  <c:v>395.918918918918</c:v>
                </c:pt>
                <c:pt idx="3167">
                  <c:v>395.63560929350399</c:v>
                </c:pt>
                <c:pt idx="3168">
                  <c:v>393.27098150782302</c:v>
                </c:pt>
                <c:pt idx="3169">
                  <c:v>395.179231863442</c:v>
                </c:pt>
                <c:pt idx="3170">
                  <c:v>400.06590801327599</c:v>
                </c:pt>
                <c:pt idx="3171">
                  <c:v>404.045282124229</c:v>
                </c:pt>
                <c:pt idx="3172">
                  <c:v>401.240635372214</c:v>
                </c:pt>
                <c:pt idx="3173">
                  <c:v>397.36273115220399</c:v>
                </c:pt>
                <c:pt idx="3174">
                  <c:v>399.049549549549</c:v>
                </c:pt>
                <c:pt idx="3175">
                  <c:v>403.94689426268297</c:v>
                </c:pt>
                <c:pt idx="3176">
                  <c:v>404.74348032242699</c:v>
                </c:pt>
                <c:pt idx="3177">
                  <c:v>405.92484589853001</c:v>
                </c:pt>
                <c:pt idx="3178">
                  <c:v>413.45685158843003</c:v>
                </c:pt>
                <c:pt idx="3179">
                  <c:v>414.27501185395897</c:v>
                </c:pt>
                <c:pt idx="3180">
                  <c:v>412.71171171171102</c:v>
                </c:pt>
                <c:pt idx="3181">
                  <c:v>413.062588904694</c:v>
                </c:pt>
                <c:pt idx="3182">
                  <c:v>412.597913703176</c:v>
                </c:pt>
                <c:pt idx="3183">
                  <c:v>412.36747273589299</c:v>
                </c:pt>
                <c:pt idx="3184">
                  <c:v>411.10502607871001</c:v>
                </c:pt>
                <c:pt idx="3185">
                  <c:v>411.37814129919298</c:v>
                </c:pt>
                <c:pt idx="3186">
                  <c:v>408.82954006638198</c:v>
                </c:pt>
                <c:pt idx="3187">
                  <c:v>406.38335704125097</c:v>
                </c:pt>
                <c:pt idx="3188">
                  <c:v>402.30298719772401</c:v>
                </c:pt>
                <c:pt idx="3189">
                  <c:v>403.366287339971</c:v>
                </c:pt>
                <c:pt idx="3190">
                  <c:v>410.17259364627699</c:v>
                </c:pt>
                <c:pt idx="3191">
                  <c:v>409.542200094831</c:v>
                </c:pt>
                <c:pt idx="3192">
                  <c:v>406.44784257942098</c:v>
                </c:pt>
                <c:pt idx="3193">
                  <c:v>408.57562825983803</c:v>
                </c:pt>
                <c:pt idx="3194">
                  <c:v>402.628733997155</c:v>
                </c:pt>
                <c:pt idx="3195">
                  <c:v>404.99051683262201</c:v>
                </c:pt>
                <c:pt idx="3196">
                  <c:v>412.46111901375002</c:v>
                </c:pt>
                <c:pt idx="3197">
                  <c:v>411.09530583214701</c:v>
                </c:pt>
                <c:pt idx="3198">
                  <c:v>404.27335229966798</c:v>
                </c:pt>
                <c:pt idx="3199">
                  <c:v>404.77501185395897</c:v>
                </c:pt>
                <c:pt idx="3200">
                  <c:v>405.08440018966297</c:v>
                </c:pt>
                <c:pt idx="3201">
                  <c:v>407.862019914651</c:v>
                </c:pt>
                <c:pt idx="3202">
                  <c:v>407.46159317211902</c:v>
                </c:pt>
                <c:pt idx="3203">
                  <c:v>404.81365576102399</c:v>
                </c:pt>
                <c:pt idx="3204">
                  <c:v>408.70602181128402</c:v>
                </c:pt>
                <c:pt idx="3205">
                  <c:v>407.37316263631999</c:v>
                </c:pt>
                <c:pt idx="3206">
                  <c:v>407.64935988620101</c:v>
                </c:pt>
                <c:pt idx="3207">
                  <c:v>410.82266477003299</c:v>
                </c:pt>
                <c:pt idx="3208">
                  <c:v>413.18089141773299</c:v>
                </c:pt>
                <c:pt idx="3209">
                  <c:v>420.31365576102399</c:v>
                </c:pt>
                <c:pt idx="3210">
                  <c:v>420.241109530583</c:v>
                </c:pt>
                <c:pt idx="3211">
                  <c:v>415.724513987671</c:v>
                </c:pt>
                <c:pt idx="3212">
                  <c:v>416.73992413465999</c:v>
                </c:pt>
                <c:pt idx="3213">
                  <c:v>415.47036510194403</c:v>
                </c:pt>
                <c:pt idx="3214">
                  <c:v>412.09483167377903</c:v>
                </c:pt>
                <c:pt idx="3215">
                  <c:v>415.77738264580302</c:v>
                </c:pt>
                <c:pt idx="3216">
                  <c:v>422.308914177335</c:v>
                </c:pt>
                <c:pt idx="3217">
                  <c:v>426.89070649596903</c:v>
                </c:pt>
                <c:pt idx="3218">
                  <c:v>430.88406827880499</c:v>
                </c:pt>
                <c:pt idx="3219">
                  <c:v>427.84495021337102</c:v>
                </c:pt>
                <c:pt idx="3220">
                  <c:v>422.14319582740598</c:v>
                </c:pt>
                <c:pt idx="3221">
                  <c:v>414.430772878141</c:v>
                </c:pt>
                <c:pt idx="3222">
                  <c:v>410.428639165481</c:v>
                </c:pt>
                <c:pt idx="3223">
                  <c:v>411.84779516358401</c:v>
                </c:pt>
                <c:pt idx="3224">
                  <c:v>412.790184921763</c:v>
                </c:pt>
                <c:pt idx="3225">
                  <c:v>416.41394025604501</c:v>
                </c:pt>
                <c:pt idx="3226">
                  <c:v>422.23352299667999</c:v>
                </c:pt>
                <c:pt idx="3227">
                  <c:v>421.45637743006102</c:v>
                </c:pt>
                <c:pt idx="3228">
                  <c:v>420.612612612612</c:v>
                </c:pt>
                <c:pt idx="3229">
                  <c:v>422.236605026078</c:v>
                </c:pt>
                <c:pt idx="3230">
                  <c:v>426.10929350403001</c:v>
                </c:pt>
                <c:pt idx="3231">
                  <c:v>422.82716927453703</c:v>
                </c:pt>
                <c:pt idx="3232">
                  <c:v>422.25154101469798</c:v>
                </c:pt>
                <c:pt idx="3233">
                  <c:v>426.61806543385399</c:v>
                </c:pt>
                <c:pt idx="3234">
                  <c:v>433.02275960170601</c:v>
                </c:pt>
                <c:pt idx="3235">
                  <c:v>432.65410146989001</c:v>
                </c:pt>
                <c:pt idx="3236">
                  <c:v>428.88501659554203</c:v>
                </c:pt>
                <c:pt idx="3237">
                  <c:v>424.65931721194801</c:v>
                </c:pt>
                <c:pt idx="3238">
                  <c:v>417.53603603603602</c:v>
                </c:pt>
                <c:pt idx="3239">
                  <c:v>418.935988620199</c:v>
                </c:pt>
                <c:pt idx="3240">
                  <c:v>428.71977240398201</c:v>
                </c:pt>
                <c:pt idx="3241">
                  <c:v>434.59459459459401</c:v>
                </c:pt>
                <c:pt idx="3242">
                  <c:v>434.84376481744903</c:v>
                </c:pt>
                <c:pt idx="3243">
                  <c:v>435.23304883831202</c:v>
                </c:pt>
                <c:pt idx="3244">
                  <c:v>428.73565670933999</c:v>
                </c:pt>
                <c:pt idx="3245">
                  <c:v>427.666666666666</c:v>
                </c:pt>
                <c:pt idx="3246">
                  <c:v>432.76884779516303</c:v>
                </c:pt>
                <c:pt idx="3247">
                  <c:v>434.96704599336101</c:v>
                </c:pt>
                <c:pt idx="3248">
                  <c:v>433.00687529634803</c:v>
                </c:pt>
                <c:pt idx="3249">
                  <c:v>426.88359412043599</c:v>
                </c:pt>
                <c:pt idx="3250">
                  <c:v>425.15813181602601</c:v>
                </c:pt>
                <c:pt idx="3251">
                  <c:v>431.87387387387298</c:v>
                </c:pt>
                <c:pt idx="3252">
                  <c:v>429.25343764817399</c:v>
                </c:pt>
                <c:pt idx="3253">
                  <c:v>428.87885253674699</c:v>
                </c:pt>
                <c:pt idx="3254">
                  <c:v>431.76434329065899</c:v>
                </c:pt>
                <c:pt idx="3255">
                  <c:v>432.29350403034601</c:v>
                </c:pt>
                <c:pt idx="3256">
                  <c:v>433.13063063062998</c:v>
                </c:pt>
                <c:pt idx="3257">
                  <c:v>432.45708866761402</c:v>
                </c:pt>
                <c:pt idx="3258">
                  <c:v>429.930298719772</c:v>
                </c:pt>
                <c:pt idx="3259">
                  <c:v>426.917259364627</c:v>
                </c:pt>
                <c:pt idx="3260">
                  <c:v>426.86462778568</c:v>
                </c:pt>
                <c:pt idx="3261">
                  <c:v>423.21218587008002</c:v>
                </c:pt>
                <c:pt idx="3262">
                  <c:v>425.056187766714</c:v>
                </c:pt>
                <c:pt idx="3263">
                  <c:v>432.31507823612998</c:v>
                </c:pt>
                <c:pt idx="3264">
                  <c:v>435.677098150782</c:v>
                </c:pt>
                <c:pt idx="3265">
                  <c:v>436.367235656709</c:v>
                </c:pt>
                <c:pt idx="3266">
                  <c:v>434.82124229492598</c:v>
                </c:pt>
                <c:pt idx="3267">
                  <c:v>436.75983878615398</c:v>
                </c:pt>
                <c:pt idx="3268">
                  <c:v>437.69203413940198</c:v>
                </c:pt>
                <c:pt idx="3269">
                  <c:v>439.15433854907502</c:v>
                </c:pt>
                <c:pt idx="3270">
                  <c:v>438.71337126600201</c:v>
                </c:pt>
                <c:pt idx="3271">
                  <c:v>439.00640113797999</c:v>
                </c:pt>
                <c:pt idx="3272">
                  <c:v>442.36178283546701</c:v>
                </c:pt>
                <c:pt idx="3273">
                  <c:v>451.21669037458503</c:v>
                </c:pt>
                <c:pt idx="3274">
                  <c:v>453.106211474632</c:v>
                </c:pt>
                <c:pt idx="3275">
                  <c:v>457.59317211948701</c:v>
                </c:pt>
                <c:pt idx="3276">
                  <c:v>456.79990516832601</c:v>
                </c:pt>
                <c:pt idx="3277">
                  <c:v>453.12825983878599</c:v>
                </c:pt>
                <c:pt idx="3278">
                  <c:v>455.41275486012302</c:v>
                </c:pt>
                <c:pt idx="3279">
                  <c:v>459.922949265054</c:v>
                </c:pt>
                <c:pt idx="3280">
                  <c:v>454.47249881460402</c:v>
                </c:pt>
                <c:pt idx="3281">
                  <c:v>450.67686107159699</c:v>
                </c:pt>
                <c:pt idx="3282">
                  <c:v>452.04717875770501</c:v>
                </c:pt>
                <c:pt idx="3283">
                  <c:v>451.02370791844402</c:v>
                </c:pt>
                <c:pt idx="3284">
                  <c:v>455.25841631104697</c:v>
                </c:pt>
                <c:pt idx="3285">
                  <c:v>467.435988620199</c:v>
                </c:pt>
                <c:pt idx="3286">
                  <c:v>466.20412517780898</c:v>
                </c:pt>
                <c:pt idx="3287">
                  <c:v>456.984352773826</c:v>
                </c:pt>
                <c:pt idx="3288">
                  <c:v>451.96870554765201</c:v>
                </c:pt>
                <c:pt idx="3289">
                  <c:v>453.86533902323299</c:v>
                </c:pt>
                <c:pt idx="3290">
                  <c:v>454.64343290659002</c:v>
                </c:pt>
                <c:pt idx="3291">
                  <c:v>456.88833570412498</c:v>
                </c:pt>
                <c:pt idx="3292">
                  <c:v>448.79706021811199</c:v>
                </c:pt>
                <c:pt idx="3293">
                  <c:v>454.309862494073</c:v>
                </c:pt>
                <c:pt idx="3294">
                  <c:v>463.71242294926498</c:v>
                </c:pt>
                <c:pt idx="3295">
                  <c:v>459.11782835467</c:v>
                </c:pt>
                <c:pt idx="3296">
                  <c:v>452.33048838311902</c:v>
                </c:pt>
                <c:pt idx="3297">
                  <c:v>450.15433854907502</c:v>
                </c:pt>
                <c:pt idx="3298">
                  <c:v>450.91654812707401</c:v>
                </c:pt>
                <c:pt idx="3299">
                  <c:v>452.94120436225597</c:v>
                </c:pt>
                <c:pt idx="3300">
                  <c:v>459.72593646277801</c:v>
                </c:pt>
                <c:pt idx="3301">
                  <c:v>462.36842105263099</c:v>
                </c:pt>
                <c:pt idx="3302">
                  <c:v>453.00237079184399</c:v>
                </c:pt>
                <c:pt idx="3303">
                  <c:v>453.86699857752399</c:v>
                </c:pt>
                <c:pt idx="3304">
                  <c:v>466.12162162162099</c:v>
                </c:pt>
                <c:pt idx="3305">
                  <c:v>468.01493598861998</c:v>
                </c:pt>
                <c:pt idx="3306">
                  <c:v>466.94096728307198</c:v>
                </c:pt>
                <c:pt idx="3307">
                  <c:v>465.859886201991</c:v>
                </c:pt>
                <c:pt idx="3308">
                  <c:v>465.45803698435202</c:v>
                </c:pt>
                <c:pt idx="3309">
                  <c:v>467.63063063062998</c:v>
                </c:pt>
                <c:pt idx="3310">
                  <c:v>461.356330014224</c:v>
                </c:pt>
                <c:pt idx="3311">
                  <c:v>450.63323850165898</c:v>
                </c:pt>
                <c:pt idx="3312">
                  <c:v>447.14082503556102</c:v>
                </c:pt>
                <c:pt idx="3313">
                  <c:v>452.03319108582201</c:v>
                </c:pt>
                <c:pt idx="3314">
                  <c:v>448.24134660976699</c:v>
                </c:pt>
                <c:pt idx="3315">
                  <c:v>445.31602655286798</c:v>
                </c:pt>
                <c:pt idx="3316">
                  <c:v>451.09554291133202</c:v>
                </c:pt>
                <c:pt idx="3317">
                  <c:v>451.39639639639603</c:v>
                </c:pt>
                <c:pt idx="3318">
                  <c:v>448.988146040777</c:v>
                </c:pt>
                <c:pt idx="3319">
                  <c:v>453.42958748221901</c:v>
                </c:pt>
                <c:pt idx="3320">
                  <c:v>457.83167377904198</c:v>
                </c:pt>
                <c:pt idx="3321">
                  <c:v>457.16121384542402</c:v>
                </c:pt>
                <c:pt idx="3322">
                  <c:v>454.50450450450398</c:v>
                </c:pt>
                <c:pt idx="3323">
                  <c:v>450.30251303935501</c:v>
                </c:pt>
                <c:pt idx="3324">
                  <c:v>450.23067804646701</c:v>
                </c:pt>
                <c:pt idx="3325">
                  <c:v>457.12897107633898</c:v>
                </c:pt>
                <c:pt idx="3326">
                  <c:v>456.82788051209099</c:v>
                </c:pt>
                <c:pt idx="3327">
                  <c:v>450.97226173541901</c:v>
                </c:pt>
                <c:pt idx="3328">
                  <c:v>447.90777619724901</c:v>
                </c:pt>
                <c:pt idx="3329">
                  <c:v>455.68824087245099</c:v>
                </c:pt>
                <c:pt idx="3330">
                  <c:v>463.51375059269702</c:v>
                </c:pt>
                <c:pt idx="3331">
                  <c:v>463.69677572309098</c:v>
                </c:pt>
                <c:pt idx="3332">
                  <c:v>456.298482693219</c:v>
                </c:pt>
                <c:pt idx="3333">
                  <c:v>452.53366524419101</c:v>
                </c:pt>
                <c:pt idx="3334">
                  <c:v>458.98008534850601</c:v>
                </c:pt>
                <c:pt idx="3335">
                  <c:v>462.32432432432398</c:v>
                </c:pt>
                <c:pt idx="3336">
                  <c:v>472.76861071597898</c:v>
                </c:pt>
                <c:pt idx="3337">
                  <c:v>473.91631104789002</c:v>
                </c:pt>
                <c:pt idx="3338">
                  <c:v>466.78402086296802</c:v>
                </c:pt>
                <c:pt idx="3339">
                  <c:v>455.28781412991901</c:v>
                </c:pt>
                <c:pt idx="3340">
                  <c:v>452.34281650071102</c:v>
                </c:pt>
                <c:pt idx="3341">
                  <c:v>460.41370317686102</c:v>
                </c:pt>
                <c:pt idx="3342">
                  <c:v>464.33617828354602</c:v>
                </c:pt>
                <c:pt idx="3343">
                  <c:v>465.05903271692699</c:v>
                </c:pt>
                <c:pt idx="3344">
                  <c:v>467.39900426742503</c:v>
                </c:pt>
                <c:pt idx="3345">
                  <c:v>469.08700806069203</c:v>
                </c:pt>
                <c:pt idx="3346">
                  <c:v>469.29397818871502</c:v>
                </c:pt>
                <c:pt idx="3347">
                  <c:v>464.77785680417202</c:v>
                </c:pt>
                <c:pt idx="3348">
                  <c:v>464.33404457088602</c:v>
                </c:pt>
                <c:pt idx="3349">
                  <c:v>463.94144144144099</c:v>
                </c:pt>
                <c:pt idx="3350">
                  <c:v>467.77453769559003</c:v>
                </c:pt>
                <c:pt idx="3351">
                  <c:v>468.35348506401101</c:v>
                </c:pt>
                <c:pt idx="3352">
                  <c:v>470.99810336652399</c:v>
                </c:pt>
                <c:pt idx="3353">
                  <c:v>467.24087245139799</c:v>
                </c:pt>
                <c:pt idx="3354">
                  <c:v>463.742769084874</c:v>
                </c:pt>
                <c:pt idx="3355">
                  <c:v>466.32385016595498</c:v>
                </c:pt>
                <c:pt idx="3356">
                  <c:v>463.77145566619203</c:v>
                </c:pt>
                <c:pt idx="3357">
                  <c:v>462.37885253674699</c:v>
                </c:pt>
                <c:pt idx="3358">
                  <c:v>465.76292081555198</c:v>
                </c:pt>
                <c:pt idx="3359">
                  <c:v>466.52584163110402</c:v>
                </c:pt>
                <c:pt idx="3360">
                  <c:v>462.36747273589299</c:v>
                </c:pt>
                <c:pt idx="3361">
                  <c:v>456.544333807491</c:v>
                </c:pt>
                <c:pt idx="3362">
                  <c:v>449.81958274063498</c:v>
                </c:pt>
                <c:pt idx="3363">
                  <c:v>445.75035561877598</c:v>
                </c:pt>
                <c:pt idx="3364">
                  <c:v>449.171408250355</c:v>
                </c:pt>
                <c:pt idx="3365">
                  <c:v>453.98245614035</c:v>
                </c:pt>
                <c:pt idx="3366">
                  <c:v>446.91394025604501</c:v>
                </c:pt>
                <c:pt idx="3367">
                  <c:v>447.423423423423</c:v>
                </c:pt>
                <c:pt idx="3368">
                  <c:v>456.50758653390199</c:v>
                </c:pt>
                <c:pt idx="3369">
                  <c:v>455.44144144144099</c:v>
                </c:pt>
                <c:pt idx="3370">
                  <c:v>452.50734945471697</c:v>
                </c:pt>
                <c:pt idx="3371">
                  <c:v>448.19962067330403</c:v>
                </c:pt>
                <c:pt idx="3372">
                  <c:v>442.63774300616399</c:v>
                </c:pt>
                <c:pt idx="3373">
                  <c:v>440.45637743006102</c:v>
                </c:pt>
                <c:pt idx="3374">
                  <c:v>443.75817923186298</c:v>
                </c:pt>
                <c:pt idx="3375">
                  <c:v>452.40161213845403</c:v>
                </c:pt>
                <c:pt idx="3376">
                  <c:v>454.56377430061599</c:v>
                </c:pt>
                <c:pt idx="3377">
                  <c:v>455.15504978662801</c:v>
                </c:pt>
                <c:pt idx="3378">
                  <c:v>454.74039829302899</c:v>
                </c:pt>
                <c:pt idx="3379">
                  <c:v>457.43504030346099</c:v>
                </c:pt>
                <c:pt idx="3380">
                  <c:v>458.81009957325699</c:v>
                </c:pt>
                <c:pt idx="3381">
                  <c:v>454.40042674253198</c:v>
                </c:pt>
                <c:pt idx="3382">
                  <c:v>452.179706021811</c:v>
                </c:pt>
                <c:pt idx="3383">
                  <c:v>457.65813181602601</c:v>
                </c:pt>
                <c:pt idx="3384">
                  <c:v>458.65362731152197</c:v>
                </c:pt>
                <c:pt idx="3385">
                  <c:v>452.86605026078701</c:v>
                </c:pt>
                <c:pt idx="3386">
                  <c:v>448.62494073020298</c:v>
                </c:pt>
                <c:pt idx="3387">
                  <c:v>449.12778568041699</c:v>
                </c:pt>
                <c:pt idx="3388">
                  <c:v>453.676149834044</c:v>
                </c:pt>
                <c:pt idx="3389">
                  <c:v>459.26149834044497</c:v>
                </c:pt>
                <c:pt idx="3390">
                  <c:v>452.36889521099999</c:v>
                </c:pt>
                <c:pt idx="3391">
                  <c:v>446.26220957799899</c:v>
                </c:pt>
                <c:pt idx="3392">
                  <c:v>448.83831199620602</c:v>
                </c:pt>
                <c:pt idx="3393">
                  <c:v>450.18563300142199</c:v>
                </c:pt>
                <c:pt idx="3394">
                  <c:v>453.50734945471697</c:v>
                </c:pt>
                <c:pt idx="3395">
                  <c:v>457.25082977714499</c:v>
                </c:pt>
                <c:pt idx="3396">
                  <c:v>458.117117117117</c:v>
                </c:pt>
                <c:pt idx="3397">
                  <c:v>460.32290184921698</c:v>
                </c:pt>
                <c:pt idx="3398">
                  <c:v>465.19227121858597</c:v>
                </c:pt>
                <c:pt idx="3399">
                  <c:v>463.33238501659503</c:v>
                </c:pt>
                <c:pt idx="3400">
                  <c:v>458.811047889995</c:v>
                </c:pt>
                <c:pt idx="3401">
                  <c:v>458.46467520151703</c:v>
                </c:pt>
                <c:pt idx="3402">
                  <c:v>454.610004741583</c:v>
                </c:pt>
                <c:pt idx="3403">
                  <c:v>451.82503556187697</c:v>
                </c:pt>
                <c:pt idx="3404">
                  <c:v>456.415599810336</c:v>
                </c:pt>
                <c:pt idx="3405">
                  <c:v>465.983878615457</c:v>
                </c:pt>
                <c:pt idx="3406">
                  <c:v>465.179706021811</c:v>
                </c:pt>
                <c:pt idx="3407">
                  <c:v>452.01588430535702</c:v>
                </c:pt>
                <c:pt idx="3408">
                  <c:v>438.09696538643902</c:v>
                </c:pt>
                <c:pt idx="3409">
                  <c:v>445.16595542911301</c:v>
                </c:pt>
                <c:pt idx="3410">
                  <c:v>458.51375059269702</c:v>
                </c:pt>
                <c:pt idx="3411">
                  <c:v>461.50094831673698</c:v>
                </c:pt>
                <c:pt idx="3412">
                  <c:v>461.37956377429998</c:v>
                </c:pt>
                <c:pt idx="3413">
                  <c:v>466.83878615457502</c:v>
                </c:pt>
                <c:pt idx="3414">
                  <c:v>460.96206733048803</c:v>
                </c:pt>
                <c:pt idx="3415">
                  <c:v>455.605263157894</c:v>
                </c:pt>
                <c:pt idx="3416">
                  <c:v>455.53769559032702</c:v>
                </c:pt>
                <c:pt idx="3417">
                  <c:v>460.37671882408699</c:v>
                </c:pt>
                <c:pt idx="3418">
                  <c:v>468.34020862968202</c:v>
                </c:pt>
                <c:pt idx="3419">
                  <c:v>472.060455192034</c:v>
                </c:pt>
                <c:pt idx="3420">
                  <c:v>472.64841156946397</c:v>
                </c:pt>
                <c:pt idx="3421">
                  <c:v>472.47131341868101</c:v>
                </c:pt>
                <c:pt idx="3422">
                  <c:v>473.51256519677497</c:v>
                </c:pt>
                <c:pt idx="3423">
                  <c:v>474.674016121384</c:v>
                </c:pt>
                <c:pt idx="3424">
                  <c:v>474.26718824087197</c:v>
                </c:pt>
                <c:pt idx="3425">
                  <c:v>469.70791844476003</c:v>
                </c:pt>
                <c:pt idx="3426">
                  <c:v>469.09056424845801</c:v>
                </c:pt>
                <c:pt idx="3427">
                  <c:v>473.88240872451303</c:v>
                </c:pt>
                <c:pt idx="3428">
                  <c:v>470.052157420578</c:v>
                </c:pt>
                <c:pt idx="3429">
                  <c:v>471.06495969653798</c:v>
                </c:pt>
                <c:pt idx="3430">
                  <c:v>478.80512091038401</c:v>
                </c:pt>
                <c:pt idx="3431">
                  <c:v>479.16998577524799</c:v>
                </c:pt>
                <c:pt idx="3432">
                  <c:v>479.12114746325199</c:v>
                </c:pt>
                <c:pt idx="3433">
                  <c:v>487.65267899478403</c:v>
                </c:pt>
                <c:pt idx="3434">
                  <c:v>493.03556187766702</c:v>
                </c:pt>
                <c:pt idx="3435">
                  <c:v>489.76718824087197</c:v>
                </c:pt>
                <c:pt idx="3436">
                  <c:v>489.45139876718798</c:v>
                </c:pt>
                <c:pt idx="3437">
                  <c:v>502.97036510194403</c:v>
                </c:pt>
                <c:pt idx="3438">
                  <c:v>510.02536747273501</c:v>
                </c:pt>
                <c:pt idx="3439">
                  <c:v>507.062588904694</c:v>
                </c:pt>
                <c:pt idx="3440">
                  <c:v>502.58202939781802</c:v>
                </c:pt>
                <c:pt idx="3441">
                  <c:v>497.38335704125097</c:v>
                </c:pt>
                <c:pt idx="3442">
                  <c:v>500.28615457562802</c:v>
                </c:pt>
                <c:pt idx="3443">
                  <c:v>501.94428639165397</c:v>
                </c:pt>
                <c:pt idx="3444">
                  <c:v>498.49976292081499</c:v>
                </c:pt>
                <c:pt idx="3445">
                  <c:v>499.19819819819799</c:v>
                </c:pt>
                <c:pt idx="3446">
                  <c:v>499.81981981981897</c:v>
                </c:pt>
                <c:pt idx="3447">
                  <c:v>491.90327169274502</c:v>
                </c:pt>
                <c:pt idx="3448">
                  <c:v>482.179706021811</c:v>
                </c:pt>
                <c:pt idx="3449">
                  <c:v>488.09340919867202</c:v>
                </c:pt>
                <c:pt idx="3450">
                  <c:v>492.45211000474097</c:v>
                </c:pt>
                <c:pt idx="3451">
                  <c:v>495.33570412517702</c:v>
                </c:pt>
                <c:pt idx="3452">
                  <c:v>502.89402560455102</c:v>
                </c:pt>
                <c:pt idx="3453">
                  <c:v>505.44950213371197</c:v>
                </c:pt>
                <c:pt idx="3454">
                  <c:v>503.02465623518202</c:v>
                </c:pt>
                <c:pt idx="3455">
                  <c:v>500.83807491702203</c:v>
                </c:pt>
                <c:pt idx="3456">
                  <c:v>496.674490279753</c:v>
                </c:pt>
                <c:pt idx="3457">
                  <c:v>497.16642958748201</c:v>
                </c:pt>
                <c:pt idx="3458">
                  <c:v>495.21266002844902</c:v>
                </c:pt>
                <c:pt idx="3459">
                  <c:v>495.31436699857699</c:v>
                </c:pt>
                <c:pt idx="3460">
                  <c:v>497.18729255571299</c:v>
                </c:pt>
                <c:pt idx="3461">
                  <c:v>498.791133238501</c:v>
                </c:pt>
                <c:pt idx="3462">
                  <c:v>497.68895211000398</c:v>
                </c:pt>
                <c:pt idx="3463">
                  <c:v>500.47889995258402</c:v>
                </c:pt>
                <c:pt idx="3464">
                  <c:v>500.95329540066302</c:v>
                </c:pt>
                <c:pt idx="3465">
                  <c:v>502.37102892365999</c:v>
                </c:pt>
                <c:pt idx="3466">
                  <c:v>506.58131816026503</c:v>
                </c:pt>
                <c:pt idx="3467">
                  <c:v>514.22285443338001</c:v>
                </c:pt>
                <c:pt idx="3468">
                  <c:v>510.28165007112301</c:v>
                </c:pt>
                <c:pt idx="3469">
                  <c:v>506.09933617828301</c:v>
                </c:pt>
                <c:pt idx="3470">
                  <c:v>505.290184921763</c:v>
                </c:pt>
                <c:pt idx="3471">
                  <c:v>507.59388335704102</c:v>
                </c:pt>
                <c:pt idx="3472">
                  <c:v>503.311047889995</c:v>
                </c:pt>
                <c:pt idx="3473">
                  <c:v>502.06590801327599</c:v>
                </c:pt>
                <c:pt idx="3474">
                  <c:v>506.46254148885703</c:v>
                </c:pt>
                <c:pt idx="3475">
                  <c:v>506.12470365101899</c:v>
                </c:pt>
                <c:pt idx="3476">
                  <c:v>501.36913229018398</c:v>
                </c:pt>
                <c:pt idx="3477">
                  <c:v>494.24917022285399</c:v>
                </c:pt>
                <c:pt idx="3478">
                  <c:v>491.81863442389698</c:v>
                </c:pt>
                <c:pt idx="3479">
                  <c:v>500.08297771455602</c:v>
                </c:pt>
                <c:pt idx="3480">
                  <c:v>495.72024656235101</c:v>
                </c:pt>
                <c:pt idx="3481">
                  <c:v>493.43148411569399</c:v>
                </c:pt>
                <c:pt idx="3482">
                  <c:v>500.31555239449898</c:v>
                </c:pt>
                <c:pt idx="3483">
                  <c:v>502.92674253200499</c:v>
                </c:pt>
                <c:pt idx="3484">
                  <c:v>503.70151730677998</c:v>
                </c:pt>
                <c:pt idx="3485">
                  <c:v>508.367709815078</c:v>
                </c:pt>
                <c:pt idx="3486">
                  <c:v>511.74513987671799</c:v>
                </c:pt>
                <c:pt idx="3487">
                  <c:v>510.856330014224</c:v>
                </c:pt>
                <c:pt idx="3488">
                  <c:v>509.554765291607</c:v>
                </c:pt>
                <c:pt idx="3489">
                  <c:v>509.95376955903203</c:v>
                </c:pt>
                <c:pt idx="3490">
                  <c:v>508.43883357041199</c:v>
                </c:pt>
                <c:pt idx="3491">
                  <c:v>506.56685633001399</c:v>
                </c:pt>
                <c:pt idx="3492">
                  <c:v>509.37932669511599</c:v>
                </c:pt>
                <c:pt idx="3493">
                  <c:v>510.40943575154103</c:v>
                </c:pt>
                <c:pt idx="3494">
                  <c:v>514.38477951635798</c:v>
                </c:pt>
                <c:pt idx="3495">
                  <c:v>514.18231389284006</c:v>
                </c:pt>
                <c:pt idx="3496">
                  <c:v>508.17543859649101</c:v>
                </c:pt>
                <c:pt idx="3497">
                  <c:v>508.95234708392599</c:v>
                </c:pt>
                <c:pt idx="3498">
                  <c:v>503.99762920815499</c:v>
                </c:pt>
                <c:pt idx="3499">
                  <c:v>505.21076339497301</c:v>
                </c:pt>
                <c:pt idx="3500">
                  <c:v>517.54599336178205</c:v>
                </c:pt>
                <c:pt idx="3501">
                  <c:v>522.06164058795605</c:v>
                </c:pt>
                <c:pt idx="3502">
                  <c:v>519.60194404931201</c:v>
                </c:pt>
                <c:pt idx="3503">
                  <c:v>515.30867709815004</c:v>
                </c:pt>
                <c:pt idx="3504">
                  <c:v>504.64675201517298</c:v>
                </c:pt>
                <c:pt idx="3505">
                  <c:v>496.02797534376401</c:v>
                </c:pt>
                <c:pt idx="3506">
                  <c:v>496.31128496917898</c:v>
                </c:pt>
                <c:pt idx="3507">
                  <c:v>501.63442389758097</c:v>
                </c:pt>
                <c:pt idx="3508">
                  <c:v>517.40232337600696</c:v>
                </c:pt>
                <c:pt idx="3509">
                  <c:v>530.35395922238001</c:v>
                </c:pt>
                <c:pt idx="3510">
                  <c:v>529.36533902323299</c:v>
                </c:pt>
                <c:pt idx="3511">
                  <c:v>523.29089615931696</c:v>
                </c:pt>
                <c:pt idx="3512">
                  <c:v>523.64248458985196</c:v>
                </c:pt>
                <c:pt idx="3513">
                  <c:v>525.80938833570406</c:v>
                </c:pt>
                <c:pt idx="3514">
                  <c:v>519.38146040777599</c:v>
                </c:pt>
                <c:pt idx="3515">
                  <c:v>512.80322427690805</c:v>
                </c:pt>
                <c:pt idx="3516">
                  <c:v>518.48885727833101</c:v>
                </c:pt>
                <c:pt idx="3517">
                  <c:v>521.38762446657097</c:v>
                </c:pt>
                <c:pt idx="3518">
                  <c:v>523.03295400663796</c:v>
                </c:pt>
                <c:pt idx="3519">
                  <c:v>522.55713608345104</c:v>
                </c:pt>
                <c:pt idx="3520">
                  <c:v>516.66666666666595</c:v>
                </c:pt>
                <c:pt idx="3521">
                  <c:v>513.21123755334202</c:v>
                </c:pt>
                <c:pt idx="3522">
                  <c:v>514.41204362256894</c:v>
                </c:pt>
                <c:pt idx="3523">
                  <c:v>516.50497866287299</c:v>
                </c:pt>
                <c:pt idx="3524">
                  <c:v>519.238501659554</c:v>
                </c:pt>
                <c:pt idx="3525">
                  <c:v>523.68089141773305</c:v>
                </c:pt>
                <c:pt idx="3526">
                  <c:v>522.14841156946397</c:v>
                </c:pt>
                <c:pt idx="3527">
                  <c:v>519.99596965386399</c:v>
                </c:pt>
                <c:pt idx="3528">
                  <c:v>517.08202939781802</c:v>
                </c:pt>
                <c:pt idx="3529">
                  <c:v>516.62541488857198</c:v>
                </c:pt>
                <c:pt idx="3530">
                  <c:v>518.02892366050196</c:v>
                </c:pt>
                <c:pt idx="3531">
                  <c:v>522.06424845898505</c:v>
                </c:pt>
                <c:pt idx="3532">
                  <c:v>516.92792792792704</c:v>
                </c:pt>
                <c:pt idx="3533">
                  <c:v>508.67946894262599</c:v>
                </c:pt>
                <c:pt idx="3534">
                  <c:v>507.534376481744</c:v>
                </c:pt>
                <c:pt idx="3535">
                  <c:v>515.26789947842497</c:v>
                </c:pt>
                <c:pt idx="3536">
                  <c:v>519.04551920341305</c:v>
                </c:pt>
                <c:pt idx="3537">
                  <c:v>519.89615931721096</c:v>
                </c:pt>
                <c:pt idx="3538">
                  <c:v>521.46206733048803</c:v>
                </c:pt>
                <c:pt idx="3539">
                  <c:v>524.74395448079599</c:v>
                </c:pt>
                <c:pt idx="3540">
                  <c:v>528.99407302038799</c:v>
                </c:pt>
                <c:pt idx="3541">
                  <c:v>526.94594594594503</c:v>
                </c:pt>
                <c:pt idx="3542">
                  <c:v>521.75912754860099</c:v>
                </c:pt>
                <c:pt idx="3543">
                  <c:v>528.47581792318601</c:v>
                </c:pt>
                <c:pt idx="3544">
                  <c:v>527.602655286865</c:v>
                </c:pt>
                <c:pt idx="3545">
                  <c:v>519.16974869606395</c:v>
                </c:pt>
                <c:pt idx="3546">
                  <c:v>528.09530583214701</c:v>
                </c:pt>
                <c:pt idx="3547">
                  <c:v>536.12209577998999</c:v>
                </c:pt>
                <c:pt idx="3548">
                  <c:v>539.17923186344206</c:v>
                </c:pt>
                <c:pt idx="3549">
                  <c:v>546.42769084874305</c:v>
                </c:pt>
                <c:pt idx="3550">
                  <c:v>550.31531531531505</c:v>
                </c:pt>
                <c:pt idx="3551">
                  <c:v>544.66334755808396</c:v>
                </c:pt>
                <c:pt idx="3552">
                  <c:v>541.23518255097201</c:v>
                </c:pt>
                <c:pt idx="3553">
                  <c:v>544.89165481270697</c:v>
                </c:pt>
                <c:pt idx="3554">
                  <c:v>549.10194404931201</c:v>
                </c:pt>
                <c:pt idx="3555">
                  <c:v>548.57278330962504</c:v>
                </c:pt>
                <c:pt idx="3556">
                  <c:v>550.41820768136495</c:v>
                </c:pt>
                <c:pt idx="3557">
                  <c:v>547.14698909435697</c:v>
                </c:pt>
                <c:pt idx="3558">
                  <c:v>541.27192982456097</c:v>
                </c:pt>
                <c:pt idx="3559">
                  <c:v>546.55310573731595</c:v>
                </c:pt>
                <c:pt idx="3560">
                  <c:v>548.600521574205</c:v>
                </c:pt>
                <c:pt idx="3561">
                  <c:v>547.52489331436595</c:v>
                </c:pt>
                <c:pt idx="3562">
                  <c:v>548.28330962541395</c:v>
                </c:pt>
                <c:pt idx="3563">
                  <c:v>551.14129919392997</c:v>
                </c:pt>
                <c:pt idx="3564">
                  <c:v>556.93930772878105</c:v>
                </c:pt>
                <c:pt idx="3565">
                  <c:v>557.67496443812195</c:v>
                </c:pt>
                <c:pt idx="3566">
                  <c:v>560.33191085822602</c:v>
                </c:pt>
                <c:pt idx="3567">
                  <c:v>562.17496443812195</c:v>
                </c:pt>
                <c:pt idx="3568">
                  <c:v>563.31152204836405</c:v>
                </c:pt>
                <c:pt idx="3569">
                  <c:v>562.34850640113802</c:v>
                </c:pt>
                <c:pt idx="3570">
                  <c:v>563.45993361782803</c:v>
                </c:pt>
                <c:pt idx="3571">
                  <c:v>557.06519677572305</c:v>
                </c:pt>
                <c:pt idx="3572">
                  <c:v>549.04528212422895</c:v>
                </c:pt>
                <c:pt idx="3573">
                  <c:v>549.78330962541395</c:v>
                </c:pt>
                <c:pt idx="3574">
                  <c:v>553.45329540066302</c:v>
                </c:pt>
                <c:pt idx="3575">
                  <c:v>563.58771929824502</c:v>
                </c:pt>
                <c:pt idx="3576">
                  <c:v>560.01944049312397</c:v>
                </c:pt>
                <c:pt idx="3577">
                  <c:v>548.63252726410599</c:v>
                </c:pt>
                <c:pt idx="3578">
                  <c:v>548.80796586059705</c:v>
                </c:pt>
                <c:pt idx="3579">
                  <c:v>553.874585111427</c:v>
                </c:pt>
                <c:pt idx="3580">
                  <c:v>561.87743006163998</c:v>
                </c:pt>
                <c:pt idx="3581">
                  <c:v>564.64959696538597</c:v>
                </c:pt>
                <c:pt idx="3582">
                  <c:v>565.52062588904596</c:v>
                </c:pt>
                <c:pt idx="3583">
                  <c:v>565.11142721669</c:v>
                </c:pt>
                <c:pt idx="3584">
                  <c:v>561.73067804646701</c:v>
                </c:pt>
                <c:pt idx="3585">
                  <c:v>562.24893314367</c:v>
                </c:pt>
                <c:pt idx="3586">
                  <c:v>562.99596965386399</c:v>
                </c:pt>
                <c:pt idx="3587">
                  <c:v>567.41773352299595</c:v>
                </c:pt>
                <c:pt idx="3588">
                  <c:v>578.100521574205</c:v>
                </c:pt>
                <c:pt idx="3589">
                  <c:v>579.122332859175</c:v>
                </c:pt>
                <c:pt idx="3590">
                  <c:v>579.58511142721602</c:v>
                </c:pt>
                <c:pt idx="3591">
                  <c:v>579.95827406353703</c:v>
                </c:pt>
                <c:pt idx="3592">
                  <c:v>578.57681365576104</c:v>
                </c:pt>
                <c:pt idx="3593">
                  <c:v>576.51351351351298</c:v>
                </c:pt>
                <c:pt idx="3594">
                  <c:v>574.33902323376003</c:v>
                </c:pt>
                <c:pt idx="3595">
                  <c:v>573.96657183499201</c:v>
                </c:pt>
                <c:pt idx="3596">
                  <c:v>572.736605026078</c:v>
                </c:pt>
                <c:pt idx="3597">
                  <c:v>570.22072072072001</c:v>
                </c:pt>
                <c:pt idx="3598">
                  <c:v>574.44333807491705</c:v>
                </c:pt>
                <c:pt idx="3599">
                  <c:v>581.37221431958199</c:v>
                </c:pt>
                <c:pt idx="3600">
                  <c:v>583.94120436225603</c:v>
                </c:pt>
                <c:pt idx="3601">
                  <c:v>585.37719298245599</c:v>
                </c:pt>
                <c:pt idx="3602">
                  <c:v>594.15908013276396</c:v>
                </c:pt>
                <c:pt idx="3603">
                  <c:v>596.20436225699302</c:v>
                </c:pt>
                <c:pt idx="3604">
                  <c:v>593.89592223802697</c:v>
                </c:pt>
                <c:pt idx="3605">
                  <c:v>588.55263157894694</c:v>
                </c:pt>
                <c:pt idx="3606">
                  <c:v>583.00829777145498</c:v>
                </c:pt>
                <c:pt idx="3607">
                  <c:v>581.39758179231796</c:v>
                </c:pt>
                <c:pt idx="3608">
                  <c:v>578.66714082503495</c:v>
                </c:pt>
                <c:pt idx="3609">
                  <c:v>581.33570412517702</c:v>
                </c:pt>
                <c:pt idx="3610">
                  <c:v>589.11782835467</c:v>
                </c:pt>
                <c:pt idx="3611">
                  <c:v>591.44547178757705</c:v>
                </c:pt>
                <c:pt idx="3612">
                  <c:v>588.117117117117</c:v>
                </c:pt>
                <c:pt idx="3613">
                  <c:v>585.76908487434696</c:v>
                </c:pt>
                <c:pt idx="3614">
                  <c:v>593.01375059269697</c:v>
                </c:pt>
                <c:pt idx="3615">
                  <c:v>601.94973921289704</c:v>
                </c:pt>
                <c:pt idx="3616">
                  <c:v>594.38406827880499</c:v>
                </c:pt>
                <c:pt idx="3617">
                  <c:v>570.27619724988097</c:v>
                </c:pt>
                <c:pt idx="3618">
                  <c:v>557.80417259364594</c:v>
                </c:pt>
                <c:pt idx="3619">
                  <c:v>569.75320056898897</c:v>
                </c:pt>
                <c:pt idx="3620">
                  <c:v>582.96657183499201</c:v>
                </c:pt>
                <c:pt idx="3621">
                  <c:v>580.96657183499201</c:v>
                </c:pt>
                <c:pt idx="3622">
                  <c:v>578.07302038880903</c:v>
                </c:pt>
                <c:pt idx="3623">
                  <c:v>576.85087719298201</c:v>
                </c:pt>
                <c:pt idx="3624">
                  <c:v>574.22735893788501</c:v>
                </c:pt>
                <c:pt idx="3625">
                  <c:v>578.46514935988603</c:v>
                </c:pt>
                <c:pt idx="3626">
                  <c:v>582.34091986723502</c:v>
                </c:pt>
                <c:pt idx="3627">
                  <c:v>587.14722617354096</c:v>
                </c:pt>
                <c:pt idx="3628">
                  <c:v>589.33831199620602</c:v>
                </c:pt>
                <c:pt idx="3629">
                  <c:v>587.48269321953501</c:v>
                </c:pt>
                <c:pt idx="3630">
                  <c:v>577.09767662399202</c:v>
                </c:pt>
                <c:pt idx="3631">
                  <c:v>571.77524893314296</c:v>
                </c:pt>
                <c:pt idx="3632">
                  <c:v>578.57657657657603</c:v>
                </c:pt>
                <c:pt idx="3633">
                  <c:v>579.490753911806</c:v>
                </c:pt>
                <c:pt idx="3634">
                  <c:v>575.19819819819804</c:v>
                </c:pt>
                <c:pt idx="3635">
                  <c:v>578.65054528212397</c:v>
                </c:pt>
                <c:pt idx="3636">
                  <c:v>581.67828354670405</c:v>
                </c:pt>
                <c:pt idx="3637">
                  <c:v>585.40398293029796</c:v>
                </c:pt>
                <c:pt idx="3638">
                  <c:v>583.01090564248398</c:v>
                </c:pt>
                <c:pt idx="3639">
                  <c:v>580.56733048838305</c:v>
                </c:pt>
                <c:pt idx="3640">
                  <c:v>570.57776197249802</c:v>
                </c:pt>
                <c:pt idx="3641">
                  <c:v>568.81389284020804</c:v>
                </c:pt>
                <c:pt idx="3642">
                  <c:v>577.75509720246498</c:v>
                </c:pt>
                <c:pt idx="3643">
                  <c:v>581.03982930298696</c:v>
                </c:pt>
                <c:pt idx="3644">
                  <c:v>579.96040777619703</c:v>
                </c:pt>
                <c:pt idx="3645">
                  <c:v>579.89971550497796</c:v>
                </c:pt>
                <c:pt idx="3646">
                  <c:v>579.94807965860502</c:v>
                </c:pt>
                <c:pt idx="3647">
                  <c:v>582.70839260312903</c:v>
                </c:pt>
                <c:pt idx="3648">
                  <c:v>581.53911806543294</c:v>
                </c:pt>
                <c:pt idx="3649">
                  <c:v>575.80512091038395</c:v>
                </c:pt>
                <c:pt idx="3650">
                  <c:v>572.79777145566595</c:v>
                </c:pt>
                <c:pt idx="3651">
                  <c:v>575.97226173541901</c:v>
                </c:pt>
                <c:pt idx="3652">
                  <c:v>583.85609293504001</c:v>
                </c:pt>
                <c:pt idx="3653">
                  <c:v>592.56021811284904</c:v>
                </c:pt>
                <c:pt idx="3654">
                  <c:v>591.96064485538102</c:v>
                </c:pt>
                <c:pt idx="3655">
                  <c:v>586.02157420578396</c:v>
                </c:pt>
                <c:pt idx="3656">
                  <c:v>590.64604077761896</c:v>
                </c:pt>
                <c:pt idx="3657">
                  <c:v>600.87790422000899</c:v>
                </c:pt>
                <c:pt idx="3658">
                  <c:v>600.13821716453197</c:v>
                </c:pt>
                <c:pt idx="3659">
                  <c:v>602.92200094831605</c:v>
                </c:pt>
                <c:pt idx="3660">
                  <c:v>605.730203888098</c:v>
                </c:pt>
                <c:pt idx="3661">
                  <c:v>599.89449976291996</c:v>
                </c:pt>
                <c:pt idx="3662">
                  <c:v>594.80298719772395</c:v>
                </c:pt>
                <c:pt idx="3663">
                  <c:v>598.07776197249802</c:v>
                </c:pt>
                <c:pt idx="3664">
                  <c:v>608.26861071597898</c:v>
                </c:pt>
                <c:pt idx="3665">
                  <c:v>612.08084400189603</c:v>
                </c:pt>
                <c:pt idx="3666">
                  <c:v>613.67614983404405</c:v>
                </c:pt>
                <c:pt idx="3667">
                  <c:v>618.88952110004698</c:v>
                </c:pt>
                <c:pt idx="3668">
                  <c:v>608.239687055476</c:v>
                </c:pt>
                <c:pt idx="3669">
                  <c:v>600.36652441915601</c:v>
                </c:pt>
                <c:pt idx="3670">
                  <c:v>607.52062588904596</c:v>
                </c:pt>
                <c:pt idx="3671">
                  <c:v>608.96846846846802</c:v>
                </c:pt>
                <c:pt idx="3672">
                  <c:v>600.43053579895604</c:v>
                </c:pt>
                <c:pt idx="3673">
                  <c:v>601.85087719298201</c:v>
                </c:pt>
                <c:pt idx="3674">
                  <c:v>605.27572309151196</c:v>
                </c:pt>
                <c:pt idx="3675">
                  <c:v>605.46088193456603</c:v>
                </c:pt>
                <c:pt idx="3676">
                  <c:v>607.33428165007103</c:v>
                </c:pt>
                <c:pt idx="3677">
                  <c:v>613.11332385016601</c:v>
                </c:pt>
                <c:pt idx="3678">
                  <c:v>608.875059269796</c:v>
                </c:pt>
                <c:pt idx="3679">
                  <c:v>602.14935988620095</c:v>
                </c:pt>
                <c:pt idx="3680">
                  <c:v>600.80891417733505</c:v>
                </c:pt>
                <c:pt idx="3681">
                  <c:v>594.602181128496</c:v>
                </c:pt>
                <c:pt idx="3682">
                  <c:v>600.87600758653298</c:v>
                </c:pt>
                <c:pt idx="3683">
                  <c:v>605.50355618776598</c:v>
                </c:pt>
                <c:pt idx="3684">
                  <c:v>611.33831199620602</c:v>
                </c:pt>
                <c:pt idx="3685">
                  <c:v>609.68207681365504</c:v>
                </c:pt>
                <c:pt idx="3686">
                  <c:v>605.55334281650005</c:v>
                </c:pt>
                <c:pt idx="3687">
                  <c:v>604.31223328591705</c:v>
                </c:pt>
                <c:pt idx="3688">
                  <c:v>601.27999051683196</c:v>
                </c:pt>
                <c:pt idx="3689">
                  <c:v>598.43219535324704</c:v>
                </c:pt>
                <c:pt idx="3690">
                  <c:v>592.34921763869102</c:v>
                </c:pt>
                <c:pt idx="3691">
                  <c:v>598.67045993361705</c:v>
                </c:pt>
                <c:pt idx="3692">
                  <c:v>603.62375533428099</c:v>
                </c:pt>
                <c:pt idx="3693">
                  <c:v>601.09412043622501</c:v>
                </c:pt>
                <c:pt idx="3694">
                  <c:v>600.94499762920805</c:v>
                </c:pt>
                <c:pt idx="3695">
                  <c:v>604.54670459933595</c:v>
                </c:pt>
                <c:pt idx="3696">
                  <c:v>599.22072072072001</c:v>
                </c:pt>
                <c:pt idx="3697">
                  <c:v>595.47605500237</c:v>
                </c:pt>
                <c:pt idx="3698">
                  <c:v>601.89971550497796</c:v>
                </c:pt>
                <c:pt idx="3699">
                  <c:v>605.17377904219995</c:v>
                </c:pt>
                <c:pt idx="3700">
                  <c:v>604.00403034613498</c:v>
                </c:pt>
                <c:pt idx="3701">
                  <c:v>606.43741109530504</c:v>
                </c:pt>
                <c:pt idx="3702">
                  <c:v>606.38691322901798</c:v>
                </c:pt>
                <c:pt idx="3703">
                  <c:v>599.748458985301</c:v>
                </c:pt>
                <c:pt idx="3704">
                  <c:v>592.77430061640496</c:v>
                </c:pt>
                <c:pt idx="3705">
                  <c:v>599.55239449976204</c:v>
                </c:pt>
                <c:pt idx="3706">
                  <c:v>604.66737790421905</c:v>
                </c:pt>
                <c:pt idx="3707">
                  <c:v>614.75272641062099</c:v>
                </c:pt>
                <c:pt idx="3708">
                  <c:v>622.54030346135596</c:v>
                </c:pt>
                <c:pt idx="3709">
                  <c:v>625.64106211474598</c:v>
                </c:pt>
                <c:pt idx="3710">
                  <c:v>622.08487434803203</c:v>
                </c:pt>
                <c:pt idx="3711">
                  <c:v>630.238027501185</c:v>
                </c:pt>
                <c:pt idx="3712">
                  <c:v>631.08416311047802</c:v>
                </c:pt>
                <c:pt idx="3713">
                  <c:v>621.95827406353703</c:v>
                </c:pt>
                <c:pt idx="3714">
                  <c:v>618.14556661924996</c:v>
                </c:pt>
                <c:pt idx="3715">
                  <c:v>618.87719298245599</c:v>
                </c:pt>
                <c:pt idx="3716">
                  <c:v>624.04551920341305</c:v>
                </c:pt>
                <c:pt idx="3717">
                  <c:v>624.43504030346105</c:v>
                </c:pt>
                <c:pt idx="3718">
                  <c:v>614.13869132290097</c:v>
                </c:pt>
                <c:pt idx="3719">
                  <c:v>607.04551920341305</c:v>
                </c:pt>
                <c:pt idx="3720">
                  <c:v>617.23423423423401</c:v>
                </c:pt>
                <c:pt idx="3721">
                  <c:v>624.72522522522502</c:v>
                </c:pt>
                <c:pt idx="3722">
                  <c:v>616.07420578473204</c:v>
                </c:pt>
                <c:pt idx="3723">
                  <c:v>603.94310099573204</c:v>
                </c:pt>
                <c:pt idx="3724">
                  <c:v>600.52536747273496</c:v>
                </c:pt>
                <c:pt idx="3725">
                  <c:v>611.63821716453197</c:v>
                </c:pt>
                <c:pt idx="3726">
                  <c:v>616.06401137980004</c:v>
                </c:pt>
                <c:pt idx="3727">
                  <c:v>617.33522996680801</c:v>
                </c:pt>
                <c:pt idx="3728">
                  <c:v>619.84305357989501</c:v>
                </c:pt>
                <c:pt idx="3729">
                  <c:v>625.39971550497796</c:v>
                </c:pt>
                <c:pt idx="3730">
                  <c:v>621.86842105263099</c:v>
                </c:pt>
                <c:pt idx="3731">
                  <c:v>620.85822664770001</c:v>
                </c:pt>
                <c:pt idx="3732">
                  <c:v>616.59696538643902</c:v>
                </c:pt>
                <c:pt idx="3733">
                  <c:v>613.00284495021299</c:v>
                </c:pt>
                <c:pt idx="3734">
                  <c:v>627.06164058795605</c:v>
                </c:pt>
                <c:pt idx="3735">
                  <c:v>637.87316263631999</c:v>
                </c:pt>
                <c:pt idx="3736">
                  <c:v>626.746325272641</c:v>
                </c:pt>
                <c:pt idx="3737">
                  <c:v>616.58440018966303</c:v>
                </c:pt>
                <c:pt idx="3738">
                  <c:v>612.14817449027896</c:v>
                </c:pt>
                <c:pt idx="3739">
                  <c:v>617.71716453295403</c:v>
                </c:pt>
                <c:pt idx="3740">
                  <c:v>620.91441441441395</c:v>
                </c:pt>
                <c:pt idx="3741">
                  <c:v>627.69559032716904</c:v>
                </c:pt>
                <c:pt idx="3742">
                  <c:v>637.33688952110003</c:v>
                </c:pt>
                <c:pt idx="3743">
                  <c:v>636.62162162162099</c:v>
                </c:pt>
                <c:pt idx="3744">
                  <c:v>637.15552394499696</c:v>
                </c:pt>
                <c:pt idx="3745">
                  <c:v>635.20697012802202</c:v>
                </c:pt>
                <c:pt idx="3746">
                  <c:v>630.91607396870495</c:v>
                </c:pt>
                <c:pt idx="3747">
                  <c:v>623.41062114746296</c:v>
                </c:pt>
                <c:pt idx="3748">
                  <c:v>625.365101944049</c:v>
                </c:pt>
                <c:pt idx="3749">
                  <c:v>621.228781412991</c:v>
                </c:pt>
                <c:pt idx="3750">
                  <c:v>620.90943575153995</c:v>
                </c:pt>
                <c:pt idx="3751">
                  <c:v>637.33001422475104</c:v>
                </c:pt>
                <c:pt idx="3752">
                  <c:v>642.33760075865302</c:v>
                </c:pt>
                <c:pt idx="3753">
                  <c:v>633.96680891417702</c:v>
                </c:pt>
                <c:pt idx="3754">
                  <c:v>640.48032242769</c:v>
                </c:pt>
                <c:pt idx="3755">
                  <c:v>643.24158368895201</c:v>
                </c:pt>
                <c:pt idx="3756">
                  <c:v>632.66714082503495</c:v>
                </c:pt>
                <c:pt idx="3757">
                  <c:v>622.32811759127503</c:v>
                </c:pt>
                <c:pt idx="3758">
                  <c:v>624.36913229018398</c:v>
                </c:pt>
                <c:pt idx="3759">
                  <c:v>627.91109530583196</c:v>
                </c:pt>
                <c:pt idx="3760">
                  <c:v>631.93480322427604</c:v>
                </c:pt>
                <c:pt idx="3761">
                  <c:v>627.28733997154995</c:v>
                </c:pt>
                <c:pt idx="3762">
                  <c:v>625.16998577524805</c:v>
                </c:pt>
                <c:pt idx="3763">
                  <c:v>635.49834044570798</c:v>
                </c:pt>
                <c:pt idx="3764">
                  <c:v>637.604314841156</c:v>
                </c:pt>
                <c:pt idx="3765">
                  <c:v>640.52607871028897</c:v>
                </c:pt>
                <c:pt idx="3766">
                  <c:v>644.12209577998999</c:v>
                </c:pt>
                <c:pt idx="3767">
                  <c:v>649.03864390706406</c:v>
                </c:pt>
                <c:pt idx="3768">
                  <c:v>653.26458036984297</c:v>
                </c:pt>
                <c:pt idx="3769">
                  <c:v>651.18515884305305</c:v>
                </c:pt>
                <c:pt idx="3770">
                  <c:v>650.28307254622996</c:v>
                </c:pt>
                <c:pt idx="3771">
                  <c:v>651.78876244665696</c:v>
                </c:pt>
                <c:pt idx="3772">
                  <c:v>650.27785680417196</c:v>
                </c:pt>
                <c:pt idx="3773">
                  <c:v>649.09815078236102</c:v>
                </c:pt>
                <c:pt idx="3774">
                  <c:v>649.79255571360795</c:v>
                </c:pt>
                <c:pt idx="3775">
                  <c:v>648.34850640113802</c:v>
                </c:pt>
                <c:pt idx="3776">
                  <c:v>642.29871977240305</c:v>
                </c:pt>
                <c:pt idx="3777">
                  <c:v>643.14177335229897</c:v>
                </c:pt>
                <c:pt idx="3778">
                  <c:v>645.30156472261694</c:v>
                </c:pt>
                <c:pt idx="3779">
                  <c:v>642.61166429587399</c:v>
                </c:pt>
                <c:pt idx="3780">
                  <c:v>635.69393077287805</c:v>
                </c:pt>
                <c:pt idx="3781">
                  <c:v>637.08440018966303</c:v>
                </c:pt>
                <c:pt idx="3782">
                  <c:v>642.82195353247903</c:v>
                </c:pt>
                <c:pt idx="3783">
                  <c:v>643.370317686107</c:v>
                </c:pt>
                <c:pt idx="3784">
                  <c:v>650.48672356566999</c:v>
                </c:pt>
                <c:pt idx="3785">
                  <c:v>657.97629208155502</c:v>
                </c:pt>
                <c:pt idx="3786">
                  <c:v>664.27927927927897</c:v>
                </c:pt>
                <c:pt idx="3787">
                  <c:v>661.97889995258402</c:v>
                </c:pt>
                <c:pt idx="3788">
                  <c:v>657.91465149359794</c:v>
                </c:pt>
                <c:pt idx="3789">
                  <c:v>654.13608345187197</c:v>
                </c:pt>
                <c:pt idx="3790">
                  <c:v>654.51043148411497</c:v>
                </c:pt>
                <c:pt idx="3791">
                  <c:v>650.00829777145498</c:v>
                </c:pt>
                <c:pt idx="3792">
                  <c:v>648.00972024656198</c:v>
                </c:pt>
                <c:pt idx="3793">
                  <c:v>650.16145092460795</c:v>
                </c:pt>
                <c:pt idx="3794">
                  <c:v>647.348980559506</c:v>
                </c:pt>
                <c:pt idx="3795">
                  <c:v>647.63252726410599</c:v>
                </c:pt>
                <c:pt idx="3796">
                  <c:v>654.88525367472698</c:v>
                </c:pt>
                <c:pt idx="3797">
                  <c:v>668.54623044096695</c:v>
                </c:pt>
                <c:pt idx="3798">
                  <c:v>668.88975817923097</c:v>
                </c:pt>
                <c:pt idx="3799">
                  <c:v>656.12944523470799</c:v>
                </c:pt>
                <c:pt idx="3800">
                  <c:v>651.37055476529099</c:v>
                </c:pt>
                <c:pt idx="3801">
                  <c:v>650.32432432432404</c:v>
                </c:pt>
                <c:pt idx="3802">
                  <c:v>655.36605026078701</c:v>
                </c:pt>
                <c:pt idx="3803">
                  <c:v>662.71266002844902</c:v>
                </c:pt>
                <c:pt idx="3804">
                  <c:v>657.81009957325705</c:v>
                </c:pt>
                <c:pt idx="3805">
                  <c:v>647.70673304883803</c:v>
                </c:pt>
                <c:pt idx="3806">
                  <c:v>649.09483167377903</c:v>
                </c:pt>
                <c:pt idx="3807">
                  <c:v>661.13442389758097</c:v>
                </c:pt>
                <c:pt idx="3808">
                  <c:v>659.00213371265897</c:v>
                </c:pt>
                <c:pt idx="3809">
                  <c:v>649.77430061640496</c:v>
                </c:pt>
                <c:pt idx="3810">
                  <c:v>656.54125177809306</c:v>
                </c:pt>
                <c:pt idx="3811">
                  <c:v>663.39639639639597</c:v>
                </c:pt>
                <c:pt idx="3812">
                  <c:v>659.359412043622</c:v>
                </c:pt>
                <c:pt idx="3813">
                  <c:v>660.58653390232303</c:v>
                </c:pt>
                <c:pt idx="3814">
                  <c:v>666.06567093409103</c:v>
                </c:pt>
                <c:pt idx="3815">
                  <c:v>662.41488857278296</c:v>
                </c:pt>
                <c:pt idx="3816">
                  <c:v>653.85704125177801</c:v>
                </c:pt>
                <c:pt idx="3817">
                  <c:v>656.58653390232303</c:v>
                </c:pt>
                <c:pt idx="3818">
                  <c:v>666.39781887150298</c:v>
                </c:pt>
                <c:pt idx="3819">
                  <c:v>671.00877192982398</c:v>
                </c:pt>
                <c:pt idx="3820">
                  <c:v>665.81816026552804</c:v>
                </c:pt>
                <c:pt idx="3821">
                  <c:v>657.68018018017995</c:v>
                </c:pt>
                <c:pt idx="3822">
                  <c:v>667.34471313418601</c:v>
                </c:pt>
                <c:pt idx="3823">
                  <c:v>674.60858226647701</c:v>
                </c:pt>
                <c:pt idx="3824">
                  <c:v>673.366287339971</c:v>
                </c:pt>
                <c:pt idx="3825">
                  <c:v>679.80701754385905</c:v>
                </c:pt>
                <c:pt idx="3826">
                  <c:v>683.35182550972002</c:v>
                </c:pt>
                <c:pt idx="3827">
                  <c:v>676.91228070175396</c:v>
                </c:pt>
                <c:pt idx="3828">
                  <c:v>676.17591275485995</c:v>
                </c:pt>
                <c:pt idx="3829">
                  <c:v>680.11379800853399</c:v>
                </c:pt>
                <c:pt idx="3830">
                  <c:v>683.07491702228504</c:v>
                </c:pt>
                <c:pt idx="3831">
                  <c:v>686.31744902797504</c:v>
                </c:pt>
                <c:pt idx="3832">
                  <c:v>675.07302038880903</c:v>
                </c:pt>
                <c:pt idx="3833">
                  <c:v>669.16880037932594</c:v>
                </c:pt>
                <c:pt idx="3834">
                  <c:v>675.90659080132696</c:v>
                </c:pt>
                <c:pt idx="3835">
                  <c:v>677.00829777145498</c:v>
                </c:pt>
                <c:pt idx="3836">
                  <c:v>680.870791844476</c:v>
                </c:pt>
                <c:pt idx="3837">
                  <c:v>685.91441441441395</c:v>
                </c:pt>
                <c:pt idx="3838">
                  <c:v>690.02015173067798</c:v>
                </c:pt>
                <c:pt idx="3839">
                  <c:v>695.25533428164999</c:v>
                </c:pt>
                <c:pt idx="3840">
                  <c:v>683.79468942626795</c:v>
                </c:pt>
                <c:pt idx="3841">
                  <c:v>678.21716453295403</c:v>
                </c:pt>
                <c:pt idx="3842">
                  <c:v>676.41465149359794</c:v>
                </c:pt>
                <c:pt idx="3843">
                  <c:v>674.79160739686995</c:v>
                </c:pt>
                <c:pt idx="3844">
                  <c:v>682.46514935988603</c:v>
                </c:pt>
                <c:pt idx="3845">
                  <c:v>693.25533428164999</c:v>
                </c:pt>
                <c:pt idx="3846">
                  <c:v>701.81697486960604</c:v>
                </c:pt>
                <c:pt idx="3847">
                  <c:v>704.42057847320996</c:v>
                </c:pt>
                <c:pt idx="3848">
                  <c:v>694.31507823613003</c:v>
                </c:pt>
                <c:pt idx="3849">
                  <c:v>693.62660028449397</c:v>
                </c:pt>
                <c:pt idx="3850">
                  <c:v>693.10455192034101</c:v>
                </c:pt>
                <c:pt idx="3851">
                  <c:v>697.43077287814106</c:v>
                </c:pt>
                <c:pt idx="3852">
                  <c:v>703.26386913228998</c:v>
                </c:pt>
                <c:pt idx="3853">
                  <c:v>701.82456140350803</c:v>
                </c:pt>
                <c:pt idx="3854">
                  <c:v>695.71147463252703</c:v>
                </c:pt>
                <c:pt idx="3855">
                  <c:v>697.00047415836798</c:v>
                </c:pt>
                <c:pt idx="3856">
                  <c:v>701.66405879563695</c:v>
                </c:pt>
                <c:pt idx="3857">
                  <c:v>697.81792318634405</c:v>
                </c:pt>
                <c:pt idx="3858">
                  <c:v>685.20199146514904</c:v>
                </c:pt>
                <c:pt idx="3859">
                  <c:v>678.53698435277295</c:v>
                </c:pt>
                <c:pt idx="3860">
                  <c:v>694.07420578473204</c:v>
                </c:pt>
                <c:pt idx="3861">
                  <c:v>706.38691322901798</c:v>
                </c:pt>
                <c:pt idx="3862">
                  <c:v>695.04196301564696</c:v>
                </c:pt>
                <c:pt idx="3863">
                  <c:v>685.66477003319096</c:v>
                </c:pt>
                <c:pt idx="3864">
                  <c:v>688.54409672830695</c:v>
                </c:pt>
                <c:pt idx="3865">
                  <c:v>695.24182076813599</c:v>
                </c:pt>
                <c:pt idx="3866">
                  <c:v>701.44950213371203</c:v>
                </c:pt>
                <c:pt idx="3867">
                  <c:v>707.14770033190996</c:v>
                </c:pt>
                <c:pt idx="3868">
                  <c:v>708.40469416785197</c:v>
                </c:pt>
                <c:pt idx="3869">
                  <c:v>701.78971076339405</c:v>
                </c:pt>
                <c:pt idx="3870">
                  <c:v>693.58487434803203</c:v>
                </c:pt>
                <c:pt idx="3871">
                  <c:v>695.66263632053096</c:v>
                </c:pt>
                <c:pt idx="3872">
                  <c:v>701.72261735419602</c:v>
                </c:pt>
                <c:pt idx="3873">
                  <c:v>701.75628259838697</c:v>
                </c:pt>
                <c:pt idx="3874">
                  <c:v>691.76126126126098</c:v>
                </c:pt>
                <c:pt idx="3875">
                  <c:v>686.42555713608294</c:v>
                </c:pt>
                <c:pt idx="3876">
                  <c:v>697.31839734471305</c:v>
                </c:pt>
                <c:pt idx="3877">
                  <c:v>705.04694167852006</c:v>
                </c:pt>
                <c:pt idx="3878">
                  <c:v>705.39924134660896</c:v>
                </c:pt>
                <c:pt idx="3879">
                  <c:v>713.07847321005204</c:v>
                </c:pt>
                <c:pt idx="3880">
                  <c:v>724.77240398292997</c:v>
                </c:pt>
                <c:pt idx="3881">
                  <c:v>726.618776671408</c:v>
                </c:pt>
                <c:pt idx="3882">
                  <c:v>718.71763869132201</c:v>
                </c:pt>
                <c:pt idx="3883">
                  <c:v>717.27501185395897</c:v>
                </c:pt>
                <c:pt idx="3884">
                  <c:v>717.82716927453703</c:v>
                </c:pt>
                <c:pt idx="3885">
                  <c:v>714.58416311047802</c:v>
                </c:pt>
                <c:pt idx="3886">
                  <c:v>719.11142721669</c:v>
                </c:pt>
                <c:pt idx="3887">
                  <c:v>723.54883831199595</c:v>
                </c:pt>
                <c:pt idx="3888">
                  <c:v>712.95708866761504</c:v>
                </c:pt>
                <c:pt idx="3889">
                  <c:v>696.50237079184399</c:v>
                </c:pt>
                <c:pt idx="3890">
                  <c:v>699.40564248458895</c:v>
                </c:pt>
                <c:pt idx="3891">
                  <c:v>700.90659080132696</c:v>
                </c:pt>
                <c:pt idx="3892">
                  <c:v>702.33546704599303</c:v>
                </c:pt>
                <c:pt idx="3893">
                  <c:v>710.15789473684197</c:v>
                </c:pt>
                <c:pt idx="3894">
                  <c:v>724.02157420578396</c:v>
                </c:pt>
                <c:pt idx="3895">
                  <c:v>725.28781412991896</c:v>
                </c:pt>
                <c:pt idx="3896">
                  <c:v>719.93527738264504</c:v>
                </c:pt>
                <c:pt idx="3897">
                  <c:v>710.18397344713105</c:v>
                </c:pt>
                <c:pt idx="3898">
                  <c:v>704.231863442389</c:v>
                </c:pt>
                <c:pt idx="3899">
                  <c:v>708.14675201517298</c:v>
                </c:pt>
                <c:pt idx="3900">
                  <c:v>713.240161213845</c:v>
                </c:pt>
                <c:pt idx="3901">
                  <c:v>720.32076813655704</c:v>
                </c:pt>
                <c:pt idx="3902">
                  <c:v>720.04172593646194</c:v>
                </c:pt>
                <c:pt idx="3903">
                  <c:v>723.84874348032201</c:v>
                </c:pt>
                <c:pt idx="3904">
                  <c:v>730.21834992887602</c:v>
                </c:pt>
                <c:pt idx="3905">
                  <c:v>735.89046941678498</c:v>
                </c:pt>
                <c:pt idx="3906">
                  <c:v>741.39687055476497</c:v>
                </c:pt>
                <c:pt idx="3907">
                  <c:v>739.93361782835404</c:v>
                </c:pt>
                <c:pt idx="3908">
                  <c:v>735.20554765291604</c:v>
                </c:pt>
                <c:pt idx="3909">
                  <c:v>736.24158368895201</c:v>
                </c:pt>
                <c:pt idx="3910">
                  <c:v>730.01588430535696</c:v>
                </c:pt>
                <c:pt idx="3911">
                  <c:v>729.97249881460402</c:v>
                </c:pt>
                <c:pt idx="3912">
                  <c:v>736.29777145566595</c:v>
                </c:pt>
                <c:pt idx="3913">
                  <c:v>739.95922238027504</c:v>
                </c:pt>
                <c:pt idx="3914">
                  <c:v>738.623992413466</c:v>
                </c:pt>
                <c:pt idx="3915">
                  <c:v>725.25343764817399</c:v>
                </c:pt>
                <c:pt idx="3916">
                  <c:v>724.22332859174901</c:v>
                </c:pt>
                <c:pt idx="3917">
                  <c:v>727.63916548126997</c:v>
                </c:pt>
                <c:pt idx="3918">
                  <c:v>732.22830725462302</c:v>
                </c:pt>
                <c:pt idx="3919">
                  <c:v>738.87908961593098</c:v>
                </c:pt>
                <c:pt idx="3920">
                  <c:v>742.83096254148802</c:v>
                </c:pt>
                <c:pt idx="3921">
                  <c:v>732.25391180654299</c:v>
                </c:pt>
                <c:pt idx="3922">
                  <c:v>719.23138928402</c:v>
                </c:pt>
                <c:pt idx="3923">
                  <c:v>719.11948790896099</c:v>
                </c:pt>
                <c:pt idx="3924">
                  <c:v>726.45448079658604</c:v>
                </c:pt>
                <c:pt idx="3925">
                  <c:v>725.07942152678902</c:v>
                </c:pt>
                <c:pt idx="3926">
                  <c:v>731.06875296348903</c:v>
                </c:pt>
                <c:pt idx="3927">
                  <c:v>728.499051683262</c:v>
                </c:pt>
                <c:pt idx="3928">
                  <c:v>730.72261735419602</c:v>
                </c:pt>
                <c:pt idx="3929">
                  <c:v>743.25699383594099</c:v>
                </c:pt>
                <c:pt idx="3930">
                  <c:v>755.55689900426705</c:v>
                </c:pt>
                <c:pt idx="3931">
                  <c:v>754.77548601232797</c:v>
                </c:pt>
                <c:pt idx="3932">
                  <c:v>756.70910384068202</c:v>
                </c:pt>
                <c:pt idx="3933">
                  <c:v>752.76458036984297</c:v>
                </c:pt>
                <c:pt idx="3934">
                  <c:v>741.89378852536697</c:v>
                </c:pt>
                <c:pt idx="3935">
                  <c:v>734.49549549549499</c:v>
                </c:pt>
                <c:pt idx="3936">
                  <c:v>738.25936462778498</c:v>
                </c:pt>
                <c:pt idx="3937">
                  <c:v>746.44547178757705</c:v>
                </c:pt>
                <c:pt idx="3938">
                  <c:v>749.92247510668506</c:v>
                </c:pt>
                <c:pt idx="3939">
                  <c:v>747.00782361308598</c:v>
                </c:pt>
                <c:pt idx="3940">
                  <c:v>744.71858700806001</c:v>
                </c:pt>
                <c:pt idx="3941">
                  <c:v>752.5</c:v>
                </c:pt>
                <c:pt idx="3942">
                  <c:v>743.20436225699302</c:v>
                </c:pt>
                <c:pt idx="3943">
                  <c:v>730.23423423423401</c:v>
                </c:pt>
                <c:pt idx="3944">
                  <c:v>734.48316737790401</c:v>
                </c:pt>
                <c:pt idx="3945">
                  <c:v>741.72000948316702</c:v>
                </c:pt>
                <c:pt idx="3946">
                  <c:v>754.58321479374104</c:v>
                </c:pt>
                <c:pt idx="3947">
                  <c:v>762.31555239449904</c:v>
                </c:pt>
                <c:pt idx="3948">
                  <c:v>763.24561403508699</c:v>
                </c:pt>
                <c:pt idx="3949">
                  <c:v>764.89497392128897</c:v>
                </c:pt>
                <c:pt idx="3950">
                  <c:v>764.744191559981</c:v>
                </c:pt>
                <c:pt idx="3951">
                  <c:v>759.96017069701202</c:v>
                </c:pt>
                <c:pt idx="3952">
                  <c:v>753.93219535324704</c:v>
                </c:pt>
                <c:pt idx="3953">
                  <c:v>761.16121384542396</c:v>
                </c:pt>
                <c:pt idx="3954">
                  <c:v>761.62114746325199</c:v>
                </c:pt>
                <c:pt idx="3955">
                  <c:v>764.89521100047398</c:v>
                </c:pt>
                <c:pt idx="3956">
                  <c:v>773.16714082503495</c:v>
                </c:pt>
                <c:pt idx="3957">
                  <c:v>768.25817923186298</c:v>
                </c:pt>
                <c:pt idx="3958">
                  <c:v>754.54030346135596</c:v>
                </c:pt>
                <c:pt idx="3959">
                  <c:v>759.31365576102405</c:v>
                </c:pt>
                <c:pt idx="3960">
                  <c:v>772.92294926505394</c:v>
                </c:pt>
                <c:pt idx="3961">
                  <c:v>765.86913229018398</c:v>
                </c:pt>
                <c:pt idx="3962">
                  <c:v>764.38169748695998</c:v>
                </c:pt>
                <c:pt idx="3963">
                  <c:v>773.52133712659997</c:v>
                </c:pt>
                <c:pt idx="3964">
                  <c:v>772.12541488857198</c:v>
                </c:pt>
                <c:pt idx="3965">
                  <c:v>763.52418207681296</c:v>
                </c:pt>
                <c:pt idx="3966">
                  <c:v>764.62067330488298</c:v>
                </c:pt>
                <c:pt idx="3967">
                  <c:v>762.87008060692199</c:v>
                </c:pt>
                <c:pt idx="3968">
                  <c:v>754.03698435277295</c:v>
                </c:pt>
                <c:pt idx="3969">
                  <c:v>752.91678520625806</c:v>
                </c:pt>
                <c:pt idx="3970">
                  <c:v>762.91322901849196</c:v>
                </c:pt>
                <c:pt idx="3971">
                  <c:v>768.15765765765696</c:v>
                </c:pt>
                <c:pt idx="3972">
                  <c:v>763.89449976291996</c:v>
                </c:pt>
                <c:pt idx="3973">
                  <c:v>762.80346135609204</c:v>
                </c:pt>
                <c:pt idx="3974">
                  <c:v>762.32622095779902</c:v>
                </c:pt>
                <c:pt idx="3975">
                  <c:v>755.65955429113296</c:v>
                </c:pt>
                <c:pt idx="3976">
                  <c:v>753.67354196301505</c:v>
                </c:pt>
                <c:pt idx="3977">
                  <c:v>763.83522996680801</c:v>
                </c:pt>
                <c:pt idx="3978">
                  <c:v>781.23210052157401</c:v>
                </c:pt>
                <c:pt idx="3979">
                  <c:v>791.32835467045902</c:v>
                </c:pt>
                <c:pt idx="3980">
                  <c:v>781.72641062114701</c:v>
                </c:pt>
                <c:pt idx="3981">
                  <c:v>773.96989094357502</c:v>
                </c:pt>
                <c:pt idx="3982">
                  <c:v>761.99359886201898</c:v>
                </c:pt>
                <c:pt idx="3983">
                  <c:v>759.59009009009003</c:v>
                </c:pt>
                <c:pt idx="3984">
                  <c:v>772.29492650545205</c:v>
                </c:pt>
                <c:pt idx="3985">
                  <c:v>778.02655286865797</c:v>
                </c:pt>
                <c:pt idx="3986">
                  <c:v>776.94073020388805</c:v>
                </c:pt>
                <c:pt idx="3987">
                  <c:v>775.97937411095302</c:v>
                </c:pt>
                <c:pt idx="3988">
                  <c:v>769.64793741109497</c:v>
                </c:pt>
                <c:pt idx="3989">
                  <c:v>761.07254623044003</c:v>
                </c:pt>
                <c:pt idx="3990">
                  <c:v>761.23304883831202</c:v>
                </c:pt>
                <c:pt idx="3991">
                  <c:v>764.82740635372204</c:v>
                </c:pt>
                <c:pt idx="3992">
                  <c:v>779.97439544807901</c:v>
                </c:pt>
                <c:pt idx="3993">
                  <c:v>781.20791844476003</c:v>
                </c:pt>
                <c:pt idx="3994">
                  <c:v>767.81175912754804</c:v>
                </c:pt>
                <c:pt idx="3995">
                  <c:v>767.51730678046397</c:v>
                </c:pt>
                <c:pt idx="3996">
                  <c:v>783.37600758653298</c:v>
                </c:pt>
                <c:pt idx="3997">
                  <c:v>790.38169748695998</c:v>
                </c:pt>
                <c:pt idx="3998">
                  <c:v>777.17994310099505</c:v>
                </c:pt>
                <c:pt idx="3999">
                  <c:v>770.84234234234202</c:v>
                </c:pt>
                <c:pt idx="4000">
                  <c:v>772.87956377429998</c:v>
                </c:pt>
                <c:pt idx="4001">
                  <c:v>777.63560929350297</c:v>
                </c:pt>
                <c:pt idx="4002">
                  <c:v>780.30322427690805</c:v>
                </c:pt>
                <c:pt idx="4003">
                  <c:v>777.25960170696999</c:v>
                </c:pt>
                <c:pt idx="4004">
                  <c:v>783.32598387861503</c:v>
                </c:pt>
                <c:pt idx="4005">
                  <c:v>791.53153153153096</c:v>
                </c:pt>
                <c:pt idx="4006">
                  <c:v>784.53271692745295</c:v>
                </c:pt>
                <c:pt idx="4007">
                  <c:v>775.45779990516803</c:v>
                </c:pt>
                <c:pt idx="4008">
                  <c:v>780.224513987671</c:v>
                </c:pt>
                <c:pt idx="4009">
                  <c:v>782.80488383119905</c:v>
                </c:pt>
                <c:pt idx="4010">
                  <c:v>788.38620199146499</c:v>
                </c:pt>
                <c:pt idx="4011">
                  <c:v>793.49596965386399</c:v>
                </c:pt>
                <c:pt idx="4012">
                  <c:v>788.612138454243</c:v>
                </c:pt>
                <c:pt idx="4013">
                  <c:v>782.76908487434696</c:v>
                </c:pt>
                <c:pt idx="4014">
                  <c:v>789.66714082503495</c:v>
                </c:pt>
                <c:pt idx="4015">
                  <c:v>785.69013750592603</c:v>
                </c:pt>
                <c:pt idx="4016">
                  <c:v>779.42081555239395</c:v>
                </c:pt>
                <c:pt idx="4017">
                  <c:v>779.80417259364594</c:v>
                </c:pt>
                <c:pt idx="4018">
                  <c:v>780.70246562351804</c:v>
                </c:pt>
                <c:pt idx="4019">
                  <c:v>781.49834044570798</c:v>
                </c:pt>
                <c:pt idx="4020">
                  <c:v>786.85087719298201</c:v>
                </c:pt>
                <c:pt idx="4021">
                  <c:v>799.86486486486399</c:v>
                </c:pt>
                <c:pt idx="4022">
                  <c:v>794.43693693693604</c:v>
                </c:pt>
                <c:pt idx="4023">
                  <c:v>786.01019440493099</c:v>
                </c:pt>
                <c:pt idx="4024">
                  <c:v>790.01635846372596</c:v>
                </c:pt>
                <c:pt idx="4025">
                  <c:v>791.493835941204</c:v>
                </c:pt>
                <c:pt idx="4026">
                  <c:v>786.33783783783701</c:v>
                </c:pt>
                <c:pt idx="4027">
                  <c:v>786.16951161687996</c:v>
                </c:pt>
                <c:pt idx="4028">
                  <c:v>789.82740635372204</c:v>
                </c:pt>
                <c:pt idx="4029">
                  <c:v>785.16880037932594</c:v>
                </c:pt>
                <c:pt idx="4030">
                  <c:v>782.14414414414398</c:v>
                </c:pt>
                <c:pt idx="4031">
                  <c:v>788.04291133238405</c:v>
                </c:pt>
                <c:pt idx="4032">
                  <c:v>786.20673304883803</c:v>
                </c:pt>
                <c:pt idx="4033">
                  <c:v>789.97321005215701</c:v>
                </c:pt>
                <c:pt idx="4034">
                  <c:v>808.62683736367899</c:v>
                </c:pt>
                <c:pt idx="4035">
                  <c:v>805.43006164058704</c:v>
                </c:pt>
                <c:pt idx="4036">
                  <c:v>787.81981981981903</c:v>
                </c:pt>
                <c:pt idx="4037">
                  <c:v>785.28757705073394</c:v>
                </c:pt>
                <c:pt idx="4038">
                  <c:v>796.27477477477396</c:v>
                </c:pt>
                <c:pt idx="4039">
                  <c:v>807.64485538169697</c:v>
                </c:pt>
                <c:pt idx="4040">
                  <c:v>809.18895211000404</c:v>
                </c:pt>
                <c:pt idx="4041">
                  <c:v>796.83025130393503</c:v>
                </c:pt>
                <c:pt idx="4042">
                  <c:v>784.20578473210003</c:v>
                </c:pt>
                <c:pt idx="4043">
                  <c:v>786.33665244191502</c:v>
                </c:pt>
                <c:pt idx="4044">
                  <c:v>797.13252726410599</c:v>
                </c:pt>
                <c:pt idx="4045">
                  <c:v>800.91465149359794</c:v>
                </c:pt>
                <c:pt idx="4046">
                  <c:v>799.92010431484096</c:v>
                </c:pt>
                <c:pt idx="4047">
                  <c:v>801.40990990990895</c:v>
                </c:pt>
                <c:pt idx="4048">
                  <c:v>810.7271218587</c:v>
                </c:pt>
                <c:pt idx="4049">
                  <c:v>818.74608819345599</c:v>
                </c:pt>
                <c:pt idx="4050">
                  <c:v>814.28781412991896</c:v>
                </c:pt>
                <c:pt idx="4051">
                  <c:v>815.52086296823097</c:v>
                </c:pt>
                <c:pt idx="4052">
                  <c:v>817.33854907539103</c:v>
                </c:pt>
                <c:pt idx="4053">
                  <c:v>822.81910858226604</c:v>
                </c:pt>
                <c:pt idx="4054">
                  <c:v>830.32859174964403</c:v>
                </c:pt>
                <c:pt idx="4055">
                  <c:v>819.79445234708305</c:v>
                </c:pt>
                <c:pt idx="4056">
                  <c:v>816.18515884305305</c:v>
                </c:pt>
                <c:pt idx="4057">
                  <c:v>821.06543385490704</c:v>
                </c:pt>
                <c:pt idx="4058">
                  <c:v>821.75533428164999</c:v>
                </c:pt>
                <c:pt idx="4059">
                  <c:v>831.55357989568495</c:v>
                </c:pt>
                <c:pt idx="4060">
                  <c:v>833.13726884779499</c:v>
                </c:pt>
                <c:pt idx="4061">
                  <c:v>822.13726884779499</c:v>
                </c:pt>
                <c:pt idx="4062">
                  <c:v>819.70768136557604</c:v>
                </c:pt>
                <c:pt idx="4063">
                  <c:v>821.29706021811205</c:v>
                </c:pt>
                <c:pt idx="4064">
                  <c:v>824.55974395448004</c:v>
                </c:pt>
                <c:pt idx="4065">
                  <c:v>838.00213371265897</c:v>
                </c:pt>
                <c:pt idx="4066">
                  <c:v>837.81152204836405</c:v>
                </c:pt>
                <c:pt idx="4067">
                  <c:v>841.84352773826402</c:v>
                </c:pt>
                <c:pt idx="4068">
                  <c:v>841.240635372214</c:v>
                </c:pt>
                <c:pt idx="4069">
                  <c:v>851.32859174964403</c:v>
                </c:pt>
                <c:pt idx="4070">
                  <c:v>844.68871503082005</c:v>
                </c:pt>
                <c:pt idx="4071">
                  <c:v>840.70981507823603</c:v>
                </c:pt>
                <c:pt idx="4072">
                  <c:v>847.22617354196302</c:v>
                </c:pt>
                <c:pt idx="4073">
                  <c:v>851.28923660502596</c:v>
                </c:pt>
                <c:pt idx="4074">
                  <c:v>848.108345187292</c:v>
                </c:pt>
                <c:pt idx="4075">
                  <c:v>846.28354670459896</c:v>
                </c:pt>
                <c:pt idx="4076">
                  <c:v>851.25296348980498</c:v>
                </c:pt>
                <c:pt idx="4077">
                  <c:v>845.51137980085298</c:v>
                </c:pt>
                <c:pt idx="4078">
                  <c:v>843.992650545282</c:v>
                </c:pt>
                <c:pt idx="4079">
                  <c:v>847.606211474632</c:v>
                </c:pt>
                <c:pt idx="4080">
                  <c:v>864.78971076339405</c:v>
                </c:pt>
                <c:pt idx="4081">
                  <c:v>875.56401137980004</c:v>
                </c:pt>
                <c:pt idx="4082">
                  <c:v>867.67852062588895</c:v>
                </c:pt>
                <c:pt idx="4083">
                  <c:v>858.92650545282095</c:v>
                </c:pt>
                <c:pt idx="4084">
                  <c:v>863.739687055476</c:v>
                </c:pt>
                <c:pt idx="4085">
                  <c:v>875.35253674727301</c:v>
                </c:pt>
                <c:pt idx="4086">
                  <c:v>882.01303935514397</c:v>
                </c:pt>
                <c:pt idx="4087">
                  <c:v>859.30369843527706</c:v>
                </c:pt>
                <c:pt idx="4088">
                  <c:v>847.49620673304798</c:v>
                </c:pt>
                <c:pt idx="4089">
                  <c:v>856.73138928402</c:v>
                </c:pt>
                <c:pt idx="4090">
                  <c:v>878.08771929824502</c:v>
                </c:pt>
                <c:pt idx="4091">
                  <c:v>883.93432906590795</c:v>
                </c:pt>
                <c:pt idx="4092">
                  <c:v>868.35775248933101</c:v>
                </c:pt>
                <c:pt idx="4093">
                  <c:v>867.11190137505901</c:v>
                </c:pt>
                <c:pt idx="4094">
                  <c:v>866.97131341868101</c:v>
                </c:pt>
                <c:pt idx="4095">
                  <c:v>870.81531531531505</c:v>
                </c:pt>
                <c:pt idx="4096">
                  <c:v>877.17923186344206</c:v>
                </c:pt>
                <c:pt idx="4097">
                  <c:v>872.29753437648105</c:v>
                </c:pt>
                <c:pt idx="4098">
                  <c:v>865.98933143669899</c:v>
                </c:pt>
                <c:pt idx="4099">
                  <c:v>865.42579421526705</c:v>
                </c:pt>
                <c:pt idx="4100">
                  <c:v>870.243717401612</c:v>
                </c:pt>
                <c:pt idx="4101">
                  <c:v>876.51303935514397</c:v>
                </c:pt>
                <c:pt idx="4102">
                  <c:v>873.747984826932</c:v>
                </c:pt>
                <c:pt idx="4103">
                  <c:v>862.67211948790805</c:v>
                </c:pt>
                <c:pt idx="4104">
                  <c:v>861.53888098624896</c:v>
                </c:pt>
                <c:pt idx="4105">
                  <c:v>870.07207207207205</c:v>
                </c:pt>
                <c:pt idx="4106">
                  <c:v>865.45471787577003</c:v>
                </c:pt>
                <c:pt idx="4107">
                  <c:v>870.247510668563</c:v>
                </c:pt>
                <c:pt idx="4108">
                  <c:v>868.05761024182004</c:v>
                </c:pt>
                <c:pt idx="4109">
                  <c:v>862.34234234234202</c:v>
                </c:pt>
                <c:pt idx="4110">
                  <c:v>864.58843053579801</c:v>
                </c:pt>
                <c:pt idx="4111">
                  <c:v>868.861071597913</c:v>
                </c:pt>
                <c:pt idx="4112">
                  <c:v>865.70886676149803</c:v>
                </c:pt>
                <c:pt idx="4113">
                  <c:v>869.33025130393503</c:v>
                </c:pt>
                <c:pt idx="4114">
                  <c:v>886.16903745851096</c:v>
                </c:pt>
                <c:pt idx="4115">
                  <c:v>899.01991465149297</c:v>
                </c:pt>
                <c:pt idx="4116">
                  <c:v>910.82266477003304</c:v>
                </c:pt>
                <c:pt idx="4117">
                  <c:v>899.18847795163504</c:v>
                </c:pt>
                <c:pt idx="4118">
                  <c:v>892.57349454717803</c:v>
                </c:pt>
                <c:pt idx="4119">
                  <c:v>900.64461830251298</c:v>
                </c:pt>
                <c:pt idx="4120">
                  <c:v>901.05263157894694</c:v>
                </c:pt>
                <c:pt idx="4121">
                  <c:v>892.80915125651904</c:v>
                </c:pt>
                <c:pt idx="4122">
                  <c:v>879.44096728307204</c:v>
                </c:pt>
                <c:pt idx="4123">
                  <c:v>864.53271692745295</c:v>
                </c:pt>
                <c:pt idx="4124">
                  <c:v>877.63632053105698</c:v>
                </c:pt>
                <c:pt idx="4125">
                  <c:v>893.45116168800303</c:v>
                </c:pt>
                <c:pt idx="4126">
                  <c:v>891.77311522048296</c:v>
                </c:pt>
                <c:pt idx="4127">
                  <c:v>894.13181602655197</c:v>
                </c:pt>
                <c:pt idx="4128">
                  <c:v>894.75106685632898</c:v>
                </c:pt>
                <c:pt idx="4129">
                  <c:v>900.54338549075305</c:v>
                </c:pt>
                <c:pt idx="4130">
                  <c:v>901.96894262683702</c:v>
                </c:pt>
                <c:pt idx="4131">
                  <c:v>899.747510668563</c:v>
                </c:pt>
                <c:pt idx="4132">
                  <c:v>890.96633475580802</c:v>
                </c:pt>
                <c:pt idx="4133">
                  <c:v>886.78307254622996</c:v>
                </c:pt>
                <c:pt idx="4134">
                  <c:v>888.06899004267405</c:v>
                </c:pt>
                <c:pt idx="4135">
                  <c:v>899.374585111427</c:v>
                </c:pt>
                <c:pt idx="4136">
                  <c:v>905.245851114272</c:v>
                </c:pt>
                <c:pt idx="4137">
                  <c:v>898.31412991939305</c:v>
                </c:pt>
                <c:pt idx="4138">
                  <c:v>894.27121858700798</c:v>
                </c:pt>
                <c:pt idx="4139">
                  <c:v>893.16642958748196</c:v>
                </c:pt>
                <c:pt idx="4140">
                  <c:v>887.93172119487895</c:v>
                </c:pt>
                <c:pt idx="4141">
                  <c:v>898.44547178757705</c:v>
                </c:pt>
                <c:pt idx="4142">
                  <c:v>892.34613560929301</c:v>
                </c:pt>
                <c:pt idx="4143">
                  <c:v>875.19298245614004</c:v>
                </c:pt>
                <c:pt idx="4144">
                  <c:v>874.32764343290603</c:v>
                </c:pt>
                <c:pt idx="4145">
                  <c:v>888.91607396870495</c:v>
                </c:pt>
                <c:pt idx="4146">
                  <c:v>898.83096254148802</c:v>
                </c:pt>
                <c:pt idx="4147">
                  <c:v>904.17520151730605</c:v>
                </c:pt>
                <c:pt idx="4148">
                  <c:v>899.30512091038395</c:v>
                </c:pt>
                <c:pt idx="4149">
                  <c:v>895.83285917496403</c:v>
                </c:pt>
                <c:pt idx="4150">
                  <c:v>902.15386439070596</c:v>
                </c:pt>
                <c:pt idx="4151">
                  <c:v>904.65576102418197</c:v>
                </c:pt>
                <c:pt idx="4152">
                  <c:v>900.737553342816</c:v>
                </c:pt>
                <c:pt idx="4153">
                  <c:v>894.41322901849196</c:v>
                </c:pt>
                <c:pt idx="4154">
                  <c:v>889.44167852062503</c:v>
                </c:pt>
                <c:pt idx="4155">
                  <c:v>890.43646277856806</c:v>
                </c:pt>
                <c:pt idx="4156">
                  <c:v>890.728781412991</c:v>
                </c:pt>
                <c:pt idx="4157">
                  <c:v>896.982930298719</c:v>
                </c:pt>
                <c:pt idx="4158">
                  <c:v>900.58582266477003</c:v>
                </c:pt>
                <c:pt idx="4159">
                  <c:v>901.66500711237495</c:v>
                </c:pt>
                <c:pt idx="4160">
                  <c:v>896.08843053579801</c:v>
                </c:pt>
                <c:pt idx="4161">
                  <c:v>900.17283072546195</c:v>
                </c:pt>
                <c:pt idx="4162">
                  <c:v>905.56258890469405</c:v>
                </c:pt>
                <c:pt idx="4163">
                  <c:v>911.73162636320501</c:v>
                </c:pt>
                <c:pt idx="4164">
                  <c:v>913.15457562825895</c:v>
                </c:pt>
                <c:pt idx="4165">
                  <c:v>912.38454243717297</c:v>
                </c:pt>
                <c:pt idx="4166">
                  <c:v>915.39734471313398</c:v>
                </c:pt>
                <c:pt idx="4167">
                  <c:v>913.76884779516297</c:v>
                </c:pt>
                <c:pt idx="4168">
                  <c:v>906.33333333333303</c:v>
                </c:pt>
                <c:pt idx="4169">
                  <c:v>904.54077761972405</c:v>
                </c:pt>
                <c:pt idx="4170">
                  <c:v>917.41156946420097</c:v>
                </c:pt>
                <c:pt idx="4171">
                  <c:v>918.69914651493502</c:v>
                </c:pt>
                <c:pt idx="4172">
                  <c:v>906.09886201991401</c:v>
                </c:pt>
                <c:pt idx="4173">
                  <c:v>905.83570412517702</c:v>
                </c:pt>
                <c:pt idx="4174">
                  <c:v>905.14343290658996</c:v>
                </c:pt>
                <c:pt idx="4175">
                  <c:v>898.70128022759604</c:v>
                </c:pt>
                <c:pt idx="4176">
                  <c:v>906.30725462304395</c:v>
                </c:pt>
                <c:pt idx="4177">
                  <c:v>922.78686581318095</c:v>
                </c:pt>
                <c:pt idx="4178">
                  <c:v>931.71597913703101</c:v>
                </c:pt>
                <c:pt idx="4179">
                  <c:v>912.96017069701202</c:v>
                </c:pt>
                <c:pt idx="4180">
                  <c:v>898.20365101944003</c:v>
                </c:pt>
                <c:pt idx="4181">
                  <c:v>905.75651967757199</c:v>
                </c:pt>
                <c:pt idx="4182">
                  <c:v>923.06306306306305</c:v>
                </c:pt>
                <c:pt idx="4183">
                  <c:v>928.20080606922704</c:v>
                </c:pt>
                <c:pt idx="4184">
                  <c:v>925.26220957799899</c:v>
                </c:pt>
                <c:pt idx="4185">
                  <c:v>923.39497392128897</c:v>
                </c:pt>
                <c:pt idx="4186">
                  <c:v>934.82385016595504</c:v>
                </c:pt>
                <c:pt idx="4187">
                  <c:v>932.25462304409598</c:v>
                </c:pt>
                <c:pt idx="4188">
                  <c:v>933.58202939781802</c:v>
                </c:pt>
                <c:pt idx="4189">
                  <c:v>952.92603129445195</c:v>
                </c:pt>
                <c:pt idx="4190">
                  <c:v>962.04907539118005</c:v>
                </c:pt>
                <c:pt idx="4191">
                  <c:v>953.115220483641</c:v>
                </c:pt>
                <c:pt idx="4192">
                  <c:v>932.65884305357895</c:v>
                </c:pt>
                <c:pt idx="4193">
                  <c:v>926.42697961118995</c:v>
                </c:pt>
                <c:pt idx="4194">
                  <c:v>922.71834992887602</c:v>
                </c:pt>
                <c:pt idx="4195">
                  <c:v>934.64319582740598</c:v>
                </c:pt>
                <c:pt idx="4196">
                  <c:v>944.58724513987602</c:v>
                </c:pt>
                <c:pt idx="4197">
                  <c:v>930.96396396396301</c:v>
                </c:pt>
                <c:pt idx="4198">
                  <c:v>934.88146040777599</c:v>
                </c:pt>
                <c:pt idx="4199">
                  <c:v>941.20862968231302</c:v>
                </c:pt>
                <c:pt idx="4200">
                  <c:v>952.03864390706406</c:v>
                </c:pt>
                <c:pt idx="4201">
                  <c:v>952.01801801801696</c:v>
                </c:pt>
                <c:pt idx="4202">
                  <c:v>936.38809862493997</c:v>
                </c:pt>
                <c:pt idx="4203">
                  <c:v>928.94381223328503</c:v>
                </c:pt>
                <c:pt idx="4204">
                  <c:v>925.62375533428099</c:v>
                </c:pt>
                <c:pt idx="4205">
                  <c:v>936.970839260312</c:v>
                </c:pt>
                <c:pt idx="4206">
                  <c:v>935.86320531057299</c:v>
                </c:pt>
                <c:pt idx="4207">
                  <c:v>930.08440018966303</c:v>
                </c:pt>
                <c:pt idx="4208">
                  <c:v>939.80227596017005</c:v>
                </c:pt>
                <c:pt idx="4209">
                  <c:v>948.56116642958705</c:v>
                </c:pt>
                <c:pt idx="4210">
                  <c:v>951.70009483167303</c:v>
                </c:pt>
                <c:pt idx="4211">
                  <c:v>957.12422949264999</c:v>
                </c:pt>
                <c:pt idx="4212">
                  <c:v>946.116168800379</c:v>
                </c:pt>
                <c:pt idx="4213">
                  <c:v>932.35182550972002</c:v>
                </c:pt>
                <c:pt idx="4214">
                  <c:v>952.49454717875699</c:v>
                </c:pt>
                <c:pt idx="4215">
                  <c:v>975.63679468942598</c:v>
                </c:pt>
                <c:pt idx="4216">
                  <c:v>974.22427690848701</c:v>
                </c:pt>
                <c:pt idx="4217">
                  <c:v>943.98838311996201</c:v>
                </c:pt>
                <c:pt idx="4218">
                  <c:v>924.51209103840597</c:v>
                </c:pt>
                <c:pt idx="4219">
                  <c:v>924.55855855855805</c:v>
                </c:pt>
                <c:pt idx="4220">
                  <c:v>936.89046941678498</c:v>
                </c:pt>
                <c:pt idx="4221">
                  <c:v>946.04077761972405</c:v>
                </c:pt>
                <c:pt idx="4222">
                  <c:v>946.29492650545205</c:v>
                </c:pt>
                <c:pt idx="4223">
                  <c:v>941.91607396870495</c:v>
                </c:pt>
                <c:pt idx="4224">
                  <c:v>944.93835941204304</c:v>
                </c:pt>
                <c:pt idx="4225">
                  <c:v>950.89307728781398</c:v>
                </c:pt>
                <c:pt idx="4226">
                  <c:v>955.04717875770496</c:v>
                </c:pt>
                <c:pt idx="4227">
                  <c:v>962.79374110952995</c:v>
                </c:pt>
                <c:pt idx="4228">
                  <c:v>969.79160739686995</c:v>
                </c:pt>
                <c:pt idx="4229">
                  <c:v>976.14201043148398</c:v>
                </c:pt>
                <c:pt idx="4230">
                  <c:v>976.20412517780903</c:v>
                </c:pt>
                <c:pt idx="4231">
                  <c:v>983.38074917022197</c:v>
                </c:pt>
                <c:pt idx="4232">
                  <c:v>984.66097676623895</c:v>
                </c:pt>
                <c:pt idx="4233">
                  <c:v>981.43077287814106</c:v>
                </c:pt>
                <c:pt idx="4234">
                  <c:v>979.08108108108104</c:v>
                </c:pt>
                <c:pt idx="4235">
                  <c:v>972.70459933617803</c:v>
                </c:pt>
                <c:pt idx="4236">
                  <c:v>969.22925557136</c:v>
                </c:pt>
                <c:pt idx="4237">
                  <c:v>968.80962541488805</c:v>
                </c:pt>
                <c:pt idx="4238">
                  <c:v>962.31744902797504</c:v>
                </c:pt>
                <c:pt idx="4239">
                  <c:v>962.95779990516803</c:v>
                </c:pt>
                <c:pt idx="4240">
                  <c:v>967.97202465623502</c:v>
                </c:pt>
                <c:pt idx="4241">
                  <c:v>957.04030346135596</c:v>
                </c:pt>
                <c:pt idx="4242">
                  <c:v>951.81816026552804</c:v>
                </c:pt>
                <c:pt idx="4243">
                  <c:v>959.11284969179701</c:v>
                </c:pt>
                <c:pt idx="4244">
                  <c:v>964.19369369369304</c:v>
                </c:pt>
                <c:pt idx="4245">
                  <c:v>965.84423897581701</c:v>
                </c:pt>
                <c:pt idx="4246">
                  <c:v>975.93006164058704</c:v>
                </c:pt>
                <c:pt idx="4247">
                  <c:v>979.27880512090996</c:v>
                </c:pt>
                <c:pt idx="4248">
                  <c:v>980.77999051683196</c:v>
                </c:pt>
                <c:pt idx="4249">
                  <c:v>984.04860123281105</c:v>
                </c:pt>
                <c:pt idx="4250">
                  <c:v>981.76173541962999</c:v>
                </c:pt>
                <c:pt idx="4251">
                  <c:v>985.74727358937798</c:v>
                </c:pt>
                <c:pt idx="4252">
                  <c:v>986.50663821716398</c:v>
                </c:pt>
                <c:pt idx="4253">
                  <c:v>991.66832622095706</c:v>
                </c:pt>
                <c:pt idx="4254">
                  <c:v>993.50403034613498</c:v>
                </c:pt>
                <c:pt idx="4255">
                  <c:v>989.48411569464201</c:v>
                </c:pt>
                <c:pt idx="4256">
                  <c:v>993.88122332859098</c:v>
                </c:pt>
                <c:pt idx="4257">
                  <c:v>978.42935040303405</c:v>
                </c:pt>
                <c:pt idx="4258">
                  <c:v>974.45969653864302</c:v>
                </c:pt>
                <c:pt idx="4259">
                  <c:v>989.44096728307204</c:v>
                </c:pt>
                <c:pt idx="4260">
                  <c:v>1014.83878615457</c:v>
                </c:pt>
                <c:pt idx="4261">
                  <c:v>1026.1906116642899</c:v>
                </c:pt>
                <c:pt idx="4262">
                  <c:v>1006.64438122332</c:v>
                </c:pt>
                <c:pt idx="4263">
                  <c:v>995.74988146040698</c:v>
                </c:pt>
                <c:pt idx="4264">
                  <c:v>991.67449027975294</c:v>
                </c:pt>
                <c:pt idx="4265">
                  <c:v>985.15244191559896</c:v>
                </c:pt>
                <c:pt idx="4266">
                  <c:v>986.93622569938304</c:v>
                </c:pt>
                <c:pt idx="4267">
                  <c:v>984.21621621621603</c:v>
                </c:pt>
                <c:pt idx="4268">
                  <c:v>989.20317686107103</c:v>
                </c:pt>
                <c:pt idx="4269">
                  <c:v>984.02489331436595</c:v>
                </c:pt>
                <c:pt idx="4270">
                  <c:v>994.86913229018398</c:v>
                </c:pt>
                <c:pt idx="4271">
                  <c:v>1009.76434329065</c:v>
                </c:pt>
                <c:pt idx="4272">
                  <c:v>1020.89947842579</c:v>
                </c:pt>
                <c:pt idx="4273">
                  <c:v>1013.63916548127</c:v>
                </c:pt>
                <c:pt idx="4274">
                  <c:v>1019.03911806543</c:v>
                </c:pt>
                <c:pt idx="4275">
                  <c:v>1034.6104788999501</c:v>
                </c:pt>
                <c:pt idx="4276">
                  <c:v>1036.27714556661</c:v>
                </c:pt>
                <c:pt idx="4277">
                  <c:v>1014.9464201043101</c:v>
                </c:pt>
                <c:pt idx="4278">
                  <c:v>1003.63584637268</c:v>
                </c:pt>
                <c:pt idx="4279">
                  <c:v>1013.33760075865</c:v>
                </c:pt>
                <c:pt idx="4280">
                  <c:v>1037.66595542911</c:v>
                </c:pt>
                <c:pt idx="4281">
                  <c:v>1047.0348506401101</c:v>
                </c:pt>
                <c:pt idx="4282">
                  <c:v>1045.1183025130299</c:v>
                </c:pt>
                <c:pt idx="4283">
                  <c:v>1037.32882882882</c:v>
                </c:pt>
                <c:pt idx="4284">
                  <c:v>1035.24087245139</c:v>
                </c:pt>
                <c:pt idx="4285">
                  <c:v>1034.63608345187</c:v>
                </c:pt>
                <c:pt idx="4286">
                  <c:v>1029.3077287814101</c:v>
                </c:pt>
                <c:pt idx="4287">
                  <c:v>1023.18183973447</c:v>
                </c:pt>
                <c:pt idx="4288">
                  <c:v>1029.7164532954</c:v>
                </c:pt>
                <c:pt idx="4289">
                  <c:v>1042.0135135135099</c:v>
                </c:pt>
                <c:pt idx="4290">
                  <c:v>1042.0644855381599</c:v>
                </c:pt>
                <c:pt idx="4291">
                  <c:v>1029.38786154575</c:v>
                </c:pt>
                <c:pt idx="4292">
                  <c:v>1020.84068278805</c:v>
                </c:pt>
                <c:pt idx="4293">
                  <c:v>1035.63134186818</c:v>
                </c:pt>
                <c:pt idx="4294">
                  <c:v>1036.37600758653</c:v>
                </c:pt>
                <c:pt idx="4295">
                  <c:v>1021.69369369369</c:v>
                </c:pt>
                <c:pt idx="4296">
                  <c:v>1014.0974395448</c:v>
                </c:pt>
                <c:pt idx="4297">
                  <c:v>1008.90587956377</c:v>
                </c:pt>
                <c:pt idx="4298">
                  <c:v>1009.70957799905</c:v>
                </c:pt>
                <c:pt idx="4299">
                  <c:v>1002.87150308202</c:v>
                </c:pt>
                <c:pt idx="4300">
                  <c:v>1004.2128971076301</c:v>
                </c:pt>
                <c:pt idx="4301">
                  <c:v>1013.01280227596</c:v>
                </c:pt>
                <c:pt idx="4302">
                  <c:v>1035.3046467520101</c:v>
                </c:pt>
                <c:pt idx="4303">
                  <c:v>1043.2230915125599</c:v>
                </c:pt>
                <c:pt idx="4304">
                  <c:v>1046.3779042199999</c:v>
                </c:pt>
                <c:pt idx="4305">
                  <c:v>1047.58345187292</c:v>
                </c:pt>
                <c:pt idx="4306">
                  <c:v>1027.07562825983</c:v>
                </c:pt>
                <c:pt idx="4307">
                  <c:v>1014.92389758179</c:v>
                </c:pt>
                <c:pt idx="4308">
                  <c:v>1008.97297297297</c:v>
                </c:pt>
                <c:pt idx="4309">
                  <c:v>999.03176861071495</c:v>
                </c:pt>
                <c:pt idx="4310">
                  <c:v>992.81294452347004</c:v>
                </c:pt>
                <c:pt idx="4311">
                  <c:v>1006.3745851114199</c:v>
                </c:pt>
                <c:pt idx="4312">
                  <c:v>1018.795637743</c:v>
                </c:pt>
                <c:pt idx="4313">
                  <c:v>1015.62636320531</c:v>
                </c:pt>
                <c:pt idx="4314">
                  <c:v>1025.0066382171599</c:v>
                </c:pt>
                <c:pt idx="4315">
                  <c:v>1034.7605500237</c:v>
                </c:pt>
                <c:pt idx="4316">
                  <c:v>1035.1671408250299</c:v>
                </c:pt>
                <c:pt idx="4317">
                  <c:v>1041.7790422000901</c:v>
                </c:pt>
                <c:pt idx="4318">
                  <c:v>1052.13086770981</c:v>
                </c:pt>
                <c:pt idx="4319">
                  <c:v>1055.6443812233199</c:v>
                </c:pt>
                <c:pt idx="4320">
                  <c:v>1047.24087245139</c:v>
                </c:pt>
                <c:pt idx="4321">
                  <c:v>1045.89307728781</c:v>
                </c:pt>
                <c:pt idx="4322">
                  <c:v>1037.295637743</c:v>
                </c:pt>
                <c:pt idx="4323">
                  <c:v>1038.2614983404401</c:v>
                </c:pt>
                <c:pt idx="4324">
                  <c:v>1040.3316737790401</c:v>
                </c:pt>
                <c:pt idx="4325">
                  <c:v>1039.1752015172999</c:v>
                </c:pt>
                <c:pt idx="4326">
                  <c:v>1038.7889995258399</c:v>
                </c:pt>
                <c:pt idx="4327">
                  <c:v>1043.09791370317</c:v>
                </c:pt>
                <c:pt idx="4328">
                  <c:v>1054.5471787577001</c:v>
                </c:pt>
                <c:pt idx="4329">
                  <c:v>1062.3918918918901</c:v>
                </c:pt>
                <c:pt idx="4330">
                  <c:v>1062.1559981033599</c:v>
                </c:pt>
                <c:pt idx="4331">
                  <c:v>1059.36818397344</c:v>
                </c:pt>
                <c:pt idx="4332">
                  <c:v>1062.22972972972</c:v>
                </c:pt>
                <c:pt idx="4333">
                  <c:v>1068.5891417733501</c:v>
                </c:pt>
                <c:pt idx="4334">
                  <c:v>1056.8871503082</c:v>
                </c:pt>
                <c:pt idx="4335">
                  <c:v>1045.3603603603599</c:v>
                </c:pt>
                <c:pt idx="4336">
                  <c:v>1049.02773826458</c:v>
                </c:pt>
                <c:pt idx="4337">
                  <c:v>1054.1661925082899</c:v>
                </c:pt>
                <c:pt idx="4338">
                  <c:v>1053.73304883831</c:v>
                </c:pt>
                <c:pt idx="4339">
                  <c:v>1056.81175912754</c:v>
                </c:pt>
                <c:pt idx="4340">
                  <c:v>1061.9720246562299</c:v>
                </c:pt>
                <c:pt idx="4341">
                  <c:v>1049.7854433380701</c:v>
                </c:pt>
                <c:pt idx="4342">
                  <c:v>1046.1816026552799</c:v>
                </c:pt>
                <c:pt idx="4343">
                  <c:v>1054.7128971076299</c:v>
                </c:pt>
                <c:pt idx="4344">
                  <c:v>1065.7145566619199</c:v>
                </c:pt>
                <c:pt idx="4345">
                  <c:v>1082.3864390706401</c:v>
                </c:pt>
                <c:pt idx="4346">
                  <c:v>1086.99099099099</c:v>
                </c:pt>
                <c:pt idx="4347">
                  <c:v>1069.0322427690801</c:v>
                </c:pt>
                <c:pt idx="4348">
                  <c:v>1062.71597913703</c:v>
                </c:pt>
                <c:pt idx="4349">
                  <c:v>1083.3470839260301</c:v>
                </c:pt>
                <c:pt idx="4350">
                  <c:v>1096.6178283546701</c:v>
                </c:pt>
                <c:pt idx="4351">
                  <c:v>1079.2719298245599</c:v>
                </c:pt>
                <c:pt idx="4352">
                  <c:v>1076.65576102418</c:v>
                </c:pt>
                <c:pt idx="4353">
                  <c:v>1084.2790422000901</c:v>
                </c:pt>
                <c:pt idx="4354">
                  <c:v>1089.18089141773</c:v>
                </c:pt>
                <c:pt idx="4355">
                  <c:v>1095.52015173067</c:v>
                </c:pt>
                <c:pt idx="4356">
                  <c:v>1086.4720246562299</c:v>
                </c:pt>
                <c:pt idx="4357">
                  <c:v>1087.5161213845399</c:v>
                </c:pt>
                <c:pt idx="4358">
                  <c:v>1089.26766239924</c:v>
                </c:pt>
                <c:pt idx="4359">
                  <c:v>1096.4724988145999</c:v>
                </c:pt>
                <c:pt idx="4360">
                  <c:v>1096.4269796111901</c:v>
                </c:pt>
                <c:pt idx="4361">
                  <c:v>1094.9604077761901</c:v>
                </c:pt>
                <c:pt idx="4362">
                  <c:v>1095.00094831673</c:v>
                </c:pt>
                <c:pt idx="4363">
                  <c:v>1108.24466571835</c:v>
                </c:pt>
                <c:pt idx="4364">
                  <c:v>1103.8067804646701</c:v>
                </c:pt>
                <c:pt idx="4365">
                  <c:v>1099.54054054054</c:v>
                </c:pt>
                <c:pt idx="4366">
                  <c:v>1106.3641536273101</c:v>
                </c:pt>
                <c:pt idx="4367">
                  <c:v>1099.8001422475099</c:v>
                </c:pt>
                <c:pt idx="4368">
                  <c:v>1101.93148411569</c:v>
                </c:pt>
                <c:pt idx="4369">
                  <c:v>1124.26434329065</c:v>
                </c:pt>
                <c:pt idx="4370">
                  <c:v>1140.9639639639599</c:v>
                </c:pt>
                <c:pt idx="4371">
                  <c:v>1134.78402086296</c:v>
                </c:pt>
                <c:pt idx="4372">
                  <c:v>1124.3309625414799</c:v>
                </c:pt>
                <c:pt idx="4373">
                  <c:v>1115.76220957799</c:v>
                </c:pt>
                <c:pt idx="4374">
                  <c:v>1118.29990516832</c:v>
                </c:pt>
                <c:pt idx="4375">
                  <c:v>1132.19250829777</c:v>
                </c:pt>
                <c:pt idx="4376">
                  <c:v>1146.4596965386399</c:v>
                </c:pt>
                <c:pt idx="4377">
                  <c:v>1148.9788999525799</c:v>
                </c:pt>
                <c:pt idx="4378">
                  <c:v>1142.3039355144599</c:v>
                </c:pt>
                <c:pt idx="4379">
                  <c:v>1133.1998577524801</c:v>
                </c:pt>
                <c:pt idx="4380">
                  <c:v>1119.05263157894</c:v>
                </c:pt>
                <c:pt idx="4381">
                  <c:v>1121.13892840208</c:v>
                </c:pt>
                <c:pt idx="4382">
                  <c:v>1130.91488857278</c:v>
                </c:pt>
                <c:pt idx="4383">
                  <c:v>1139.53129445234</c:v>
                </c:pt>
                <c:pt idx="4384">
                  <c:v>1145.1474632527199</c:v>
                </c:pt>
                <c:pt idx="4385">
                  <c:v>1147.09957325746</c:v>
                </c:pt>
                <c:pt idx="4386">
                  <c:v>1160.1448553816899</c:v>
                </c:pt>
                <c:pt idx="4387">
                  <c:v>1160.76434329065</c:v>
                </c:pt>
                <c:pt idx="4388">
                  <c:v>1164.7003319108501</c:v>
                </c:pt>
                <c:pt idx="4389">
                  <c:v>1160.60739687055</c:v>
                </c:pt>
                <c:pt idx="4390">
                  <c:v>1173.3231389284001</c:v>
                </c:pt>
                <c:pt idx="4391">
                  <c:v>1179.76386913229</c:v>
                </c:pt>
                <c:pt idx="4392">
                  <c:v>1179.98980559506</c:v>
                </c:pt>
                <c:pt idx="4393">
                  <c:v>1176.4321953532401</c:v>
                </c:pt>
                <c:pt idx="4394">
                  <c:v>1176.81910858226</c:v>
                </c:pt>
                <c:pt idx="4395">
                  <c:v>1185.8816974869601</c:v>
                </c:pt>
                <c:pt idx="4396">
                  <c:v>1200.6038406827799</c:v>
                </c:pt>
                <c:pt idx="4397">
                  <c:v>1201.55642484589</c:v>
                </c:pt>
                <c:pt idx="4398">
                  <c:v>1205.4668089141701</c:v>
                </c:pt>
                <c:pt idx="4399">
                  <c:v>1202.1104788999501</c:v>
                </c:pt>
                <c:pt idx="4400">
                  <c:v>1189.22332859174</c:v>
                </c:pt>
                <c:pt idx="4401">
                  <c:v>1200.42176386913</c:v>
                </c:pt>
                <c:pt idx="4402">
                  <c:v>1210.91654812707</c:v>
                </c:pt>
                <c:pt idx="4403">
                  <c:v>1204.4518729255501</c:v>
                </c:pt>
                <c:pt idx="4404">
                  <c:v>1194.50308202939</c:v>
                </c:pt>
                <c:pt idx="4405">
                  <c:v>1211.8873873873799</c:v>
                </c:pt>
                <c:pt idx="4406">
                  <c:v>1224.7389758179199</c:v>
                </c:pt>
                <c:pt idx="4407">
                  <c:v>1218.02489331436</c:v>
                </c:pt>
                <c:pt idx="4408">
                  <c:v>1207.1858700805999</c:v>
                </c:pt>
                <c:pt idx="4409">
                  <c:v>1228.67330488383</c:v>
                </c:pt>
                <c:pt idx="4410">
                  <c:v>1223.79943100995</c:v>
                </c:pt>
                <c:pt idx="4411">
                  <c:v>1213.12660028449</c:v>
                </c:pt>
                <c:pt idx="4412">
                  <c:v>1228.80701754385</c:v>
                </c:pt>
                <c:pt idx="4413">
                  <c:v>1232.5120910384001</c:v>
                </c:pt>
                <c:pt idx="4414">
                  <c:v>1210.43361782835</c:v>
                </c:pt>
                <c:pt idx="4415">
                  <c:v>1202.8119962067301</c:v>
                </c:pt>
                <c:pt idx="4416">
                  <c:v>1227.3859649122801</c:v>
                </c:pt>
                <c:pt idx="4417">
                  <c:v>1226.72238027501</c:v>
                </c:pt>
                <c:pt idx="4418">
                  <c:v>1224.7273589378799</c:v>
                </c:pt>
                <c:pt idx="4419">
                  <c:v>1223.771218587</c:v>
                </c:pt>
                <c:pt idx="4420">
                  <c:v>1214.4860123281101</c:v>
                </c:pt>
                <c:pt idx="4421">
                  <c:v>1213.34992887624</c:v>
                </c:pt>
                <c:pt idx="4422">
                  <c:v>1209.41488857278</c:v>
                </c:pt>
                <c:pt idx="4423">
                  <c:v>1189.6870554765201</c:v>
                </c:pt>
                <c:pt idx="4424">
                  <c:v>1184.2017543859599</c:v>
                </c:pt>
                <c:pt idx="4425">
                  <c:v>1206.5113798008499</c:v>
                </c:pt>
                <c:pt idx="4426">
                  <c:v>1222.8172119487899</c:v>
                </c:pt>
                <c:pt idx="4427">
                  <c:v>1222.34305357989</c:v>
                </c:pt>
                <c:pt idx="4428">
                  <c:v>1210.7380275011801</c:v>
                </c:pt>
                <c:pt idx="4429">
                  <c:v>1220.2958748221899</c:v>
                </c:pt>
                <c:pt idx="4430">
                  <c:v>1226.9172593646199</c:v>
                </c:pt>
                <c:pt idx="4431">
                  <c:v>1232.2982456140301</c:v>
                </c:pt>
                <c:pt idx="4432">
                  <c:v>1238.46586059743</c:v>
                </c:pt>
                <c:pt idx="4433">
                  <c:v>1239.03413940256</c:v>
                </c:pt>
                <c:pt idx="4434">
                  <c:v>1236.27975343764</c:v>
                </c:pt>
                <c:pt idx="4435">
                  <c:v>1242.4864864864801</c:v>
                </c:pt>
                <c:pt idx="4436">
                  <c:v>1234.9642010431401</c:v>
                </c:pt>
                <c:pt idx="4437">
                  <c:v>1230.5322427690801</c:v>
                </c:pt>
                <c:pt idx="4438">
                  <c:v>1233.33712660028</c:v>
                </c:pt>
                <c:pt idx="4439">
                  <c:v>1225.4663347558001</c:v>
                </c:pt>
                <c:pt idx="4440">
                  <c:v>1224.65362731152</c:v>
                </c:pt>
                <c:pt idx="4441">
                  <c:v>1243.15101944049</c:v>
                </c:pt>
                <c:pt idx="4442">
                  <c:v>1247.3890469416699</c:v>
                </c:pt>
                <c:pt idx="4443">
                  <c:v>1240.8783783783699</c:v>
                </c:pt>
                <c:pt idx="4444">
                  <c:v>1220.6645329539999</c:v>
                </c:pt>
                <c:pt idx="4445">
                  <c:v>1201.37719298245</c:v>
                </c:pt>
                <c:pt idx="4446">
                  <c:v>1216.22238027501</c:v>
                </c:pt>
                <c:pt idx="4447">
                  <c:v>1249.2145566619199</c:v>
                </c:pt>
                <c:pt idx="4448">
                  <c:v>1255.8183973447101</c:v>
                </c:pt>
                <c:pt idx="4449">
                  <c:v>1249.47344713134</c:v>
                </c:pt>
                <c:pt idx="4450">
                  <c:v>1266.1998577524801</c:v>
                </c:pt>
                <c:pt idx="4451">
                  <c:v>1275.60004741583</c:v>
                </c:pt>
                <c:pt idx="4452">
                  <c:v>1272.39521100047</c:v>
                </c:pt>
                <c:pt idx="4453">
                  <c:v>1270.4950213371201</c:v>
                </c:pt>
                <c:pt idx="4454">
                  <c:v>1282.4298245614</c:v>
                </c:pt>
                <c:pt idx="4455">
                  <c:v>1295.5146989094301</c:v>
                </c:pt>
                <c:pt idx="4456">
                  <c:v>1292.2598387861501</c:v>
                </c:pt>
                <c:pt idx="4457">
                  <c:v>1274.7740635372199</c:v>
                </c:pt>
                <c:pt idx="4458">
                  <c:v>1265.5905642484499</c:v>
                </c:pt>
                <c:pt idx="4459">
                  <c:v>1268.99265054528</c:v>
                </c:pt>
                <c:pt idx="4460">
                  <c:v>1267.17283072546</c:v>
                </c:pt>
                <c:pt idx="4461">
                  <c:v>1277.5438596491199</c:v>
                </c:pt>
                <c:pt idx="4462">
                  <c:v>1269.47724039829</c:v>
                </c:pt>
                <c:pt idx="4463">
                  <c:v>1270.43835941204</c:v>
                </c:pt>
                <c:pt idx="4464">
                  <c:v>1274.8651019440399</c:v>
                </c:pt>
                <c:pt idx="4465">
                  <c:v>1282.52015173067</c:v>
                </c:pt>
                <c:pt idx="4466">
                  <c:v>1289.8646277856801</c:v>
                </c:pt>
                <c:pt idx="4467">
                  <c:v>1279.3193456614499</c:v>
                </c:pt>
                <c:pt idx="4468">
                  <c:v>1273.8304883831099</c:v>
                </c:pt>
                <c:pt idx="4469">
                  <c:v>1290.8454243717399</c:v>
                </c:pt>
                <c:pt idx="4470">
                  <c:v>1305.0597439544799</c:v>
                </c:pt>
                <c:pt idx="4471">
                  <c:v>1295.9395448079599</c:v>
                </c:pt>
                <c:pt idx="4472">
                  <c:v>1305.2503556187701</c:v>
                </c:pt>
                <c:pt idx="4473">
                  <c:v>1307.6823138928401</c:v>
                </c:pt>
                <c:pt idx="4474">
                  <c:v>1305.2183499288701</c:v>
                </c:pt>
                <c:pt idx="4475">
                  <c:v>1311.5163584637201</c:v>
                </c:pt>
                <c:pt idx="4476">
                  <c:v>1339.4056424845801</c:v>
                </c:pt>
                <c:pt idx="4477">
                  <c:v>1348.4203413940199</c:v>
                </c:pt>
                <c:pt idx="4478">
                  <c:v>1334.6626363205301</c:v>
                </c:pt>
                <c:pt idx="4479">
                  <c:v>1334.5220483641499</c:v>
                </c:pt>
                <c:pt idx="4480">
                  <c:v>1328.3745851114199</c:v>
                </c:pt>
                <c:pt idx="4481">
                  <c:v>1332.89568515884</c:v>
                </c:pt>
                <c:pt idx="4482">
                  <c:v>1330.8210052157399</c:v>
                </c:pt>
                <c:pt idx="4483">
                  <c:v>1321.0177809388299</c:v>
                </c:pt>
                <c:pt idx="4484">
                  <c:v>1330.9596965386399</c:v>
                </c:pt>
                <c:pt idx="4485">
                  <c:v>1326.69250829777</c:v>
                </c:pt>
                <c:pt idx="4486">
                  <c:v>1308.8987671882401</c:v>
                </c:pt>
                <c:pt idx="4487">
                  <c:v>1321.66856330014</c:v>
                </c:pt>
                <c:pt idx="4488">
                  <c:v>1342.0391180654301</c:v>
                </c:pt>
                <c:pt idx="4489">
                  <c:v>1351.7598387861501</c:v>
                </c:pt>
                <c:pt idx="4490">
                  <c:v>1359.6768610715901</c:v>
                </c:pt>
                <c:pt idx="4491">
                  <c:v>1374.3684210526301</c:v>
                </c:pt>
                <c:pt idx="4492">
                  <c:v>1389.56282598387</c:v>
                </c:pt>
                <c:pt idx="4493">
                  <c:v>1374.8018018017999</c:v>
                </c:pt>
                <c:pt idx="4494">
                  <c:v>1347.7422949265001</c:v>
                </c:pt>
                <c:pt idx="4495">
                  <c:v>1354.7871028923601</c:v>
                </c:pt>
                <c:pt idx="4496">
                  <c:v>1374.19724988146</c:v>
                </c:pt>
                <c:pt idx="4497">
                  <c:v>1377.1714082503499</c:v>
                </c:pt>
                <c:pt idx="4498">
                  <c:v>1372.8397344713101</c:v>
                </c:pt>
                <c:pt idx="4499">
                  <c:v>1360.36107159791</c:v>
                </c:pt>
                <c:pt idx="4500">
                  <c:v>1344.4933617828301</c:v>
                </c:pt>
                <c:pt idx="4501">
                  <c:v>1353.7107633949699</c:v>
                </c:pt>
                <c:pt idx="4502">
                  <c:v>1380.11925082977</c:v>
                </c:pt>
                <c:pt idx="4503">
                  <c:v>1385.4288762446599</c:v>
                </c:pt>
                <c:pt idx="4504">
                  <c:v>1386.0490753911799</c:v>
                </c:pt>
                <c:pt idx="4505">
                  <c:v>1396.7064959696499</c:v>
                </c:pt>
                <c:pt idx="4506">
                  <c:v>1403.40587956377</c:v>
                </c:pt>
                <c:pt idx="4507">
                  <c:v>1407.7072072072001</c:v>
                </c:pt>
                <c:pt idx="4508">
                  <c:v>1410.6977240398201</c:v>
                </c:pt>
                <c:pt idx="4509">
                  <c:v>1415.8565670933999</c:v>
                </c:pt>
                <c:pt idx="4510">
                  <c:v>1423.7098150782299</c:v>
                </c:pt>
                <c:pt idx="4511">
                  <c:v>1430.4274537695501</c:v>
                </c:pt>
                <c:pt idx="4512">
                  <c:v>1435.2629208155499</c:v>
                </c:pt>
                <c:pt idx="4513">
                  <c:v>1420.4300616405801</c:v>
                </c:pt>
                <c:pt idx="4514">
                  <c:v>1405.9378852536699</c:v>
                </c:pt>
                <c:pt idx="4515">
                  <c:v>1410.7944523470801</c:v>
                </c:pt>
                <c:pt idx="4516">
                  <c:v>1423.34352773826</c:v>
                </c:pt>
                <c:pt idx="4517">
                  <c:v>1435.7434803224201</c:v>
                </c:pt>
                <c:pt idx="4518">
                  <c:v>1416.38359412043</c:v>
                </c:pt>
                <c:pt idx="4519">
                  <c:v>1407.0497866287301</c:v>
                </c:pt>
                <c:pt idx="4520">
                  <c:v>1408.6104788999501</c:v>
                </c:pt>
                <c:pt idx="4521">
                  <c:v>1419.1953532479799</c:v>
                </c:pt>
                <c:pt idx="4522">
                  <c:v>1430.2114746325201</c:v>
                </c:pt>
                <c:pt idx="4523">
                  <c:v>1443.3603603603599</c:v>
                </c:pt>
                <c:pt idx="4524">
                  <c:v>1436.63821716453</c:v>
                </c:pt>
                <c:pt idx="4525">
                  <c:v>1421.0678046467499</c:v>
                </c:pt>
                <c:pt idx="4526">
                  <c:v>1427.4544807965799</c:v>
                </c:pt>
                <c:pt idx="4527">
                  <c:v>1433.3086770981499</c:v>
                </c:pt>
                <c:pt idx="4528">
                  <c:v>1445.93669985775</c:v>
                </c:pt>
                <c:pt idx="4529">
                  <c:v>1452.55049786628</c:v>
                </c:pt>
                <c:pt idx="4530">
                  <c:v>1459.86605026078</c:v>
                </c:pt>
                <c:pt idx="4531">
                  <c:v>1484.24513987671</c:v>
                </c:pt>
                <c:pt idx="4532">
                  <c:v>1487.7119487908899</c:v>
                </c:pt>
                <c:pt idx="4533">
                  <c:v>1469.8119962067301</c:v>
                </c:pt>
                <c:pt idx="4534">
                  <c:v>1450.69464201043</c:v>
                </c:pt>
                <c:pt idx="4535">
                  <c:v>1444.0929350403001</c:v>
                </c:pt>
                <c:pt idx="4536">
                  <c:v>1472.0647226173501</c:v>
                </c:pt>
                <c:pt idx="4537">
                  <c:v>1486.3333333333301</c:v>
                </c:pt>
                <c:pt idx="4538">
                  <c:v>1491.02916073968</c:v>
                </c:pt>
                <c:pt idx="4539">
                  <c:v>1514.09577999051</c:v>
                </c:pt>
                <c:pt idx="4540">
                  <c:v>1518.9191559981</c:v>
                </c:pt>
                <c:pt idx="4541">
                  <c:v>1498.1337126600199</c:v>
                </c:pt>
                <c:pt idx="4542">
                  <c:v>1499.30583214793</c:v>
                </c:pt>
                <c:pt idx="4543">
                  <c:v>1504.81910858226</c:v>
                </c:pt>
                <c:pt idx="4544">
                  <c:v>1503.95945945945</c:v>
                </c:pt>
                <c:pt idx="4545">
                  <c:v>1508.9428639165401</c:v>
                </c:pt>
                <c:pt idx="4546">
                  <c:v>1527.52655286865</c:v>
                </c:pt>
                <c:pt idx="4547">
                  <c:v>1548.3150782361299</c:v>
                </c:pt>
                <c:pt idx="4548">
                  <c:v>1546.86960644855</c:v>
                </c:pt>
                <c:pt idx="4549">
                  <c:v>1536.4945471787501</c:v>
                </c:pt>
                <c:pt idx="4550">
                  <c:v>1520.28994784257</c:v>
                </c:pt>
                <c:pt idx="4551">
                  <c:v>1515.2773826457999</c:v>
                </c:pt>
                <c:pt idx="4552">
                  <c:v>1517.7614983404401</c:v>
                </c:pt>
                <c:pt idx="4553">
                  <c:v>1515.9990516832599</c:v>
                </c:pt>
                <c:pt idx="4554">
                  <c:v>1516.3947368421</c:v>
                </c:pt>
                <c:pt idx="4555">
                  <c:v>1519.1927453769499</c:v>
                </c:pt>
                <c:pt idx="4556">
                  <c:v>1513.31863442389</c:v>
                </c:pt>
                <c:pt idx="4557">
                  <c:v>1509.82503556187</c:v>
                </c:pt>
                <c:pt idx="4558">
                  <c:v>1520.17188240872</c:v>
                </c:pt>
                <c:pt idx="4559">
                  <c:v>1538.50948316737</c:v>
                </c:pt>
                <c:pt idx="4560">
                  <c:v>1540.47439544807</c:v>
                </c:pt>
                <c:pt idx="4561">
                  <c:v>1529.6076339497299</c:v>
                </c:pt>
                <c:pt idx="4562">
                  <c:v>1540.30109056424</c:v>
                </c:pt>
                <c:pt idx="4563">
                  <c:v>1556.09032716927</c:v>
                </c:pt>
                <c:pt idx="4564">
                  <c:v>1589.6199620673301</c:v>
                </c:pt>
                <c:pt idx="4565">
                  <c:v>1607.5516832622</c:v>
                </c:pt>
                <c:pt idx="4566">
                  <c:v>1595.1541014698901</c:v>
                </c:pt>
                <c:pt idx="4567">
                  <c:v>1598.92769084874</c:v>
                </c:pt>
                <c:pt idx="4568">
                  <c:v>1594.40896159317</c:v>
                </c:pt>
                <c:pt idx="4569">
                  <c:v>1567.46799431009</c:v>
                </c:pt>
                <c:pt idx="4570">
                  <c:v>1565.68776671408</c:v>
                </c:pt>
                <c:pt idx="4571">
                  <c:v>1568.84210526315</c:v>
                </c:pt>
                <c:pt idx="4572">
                  <c:v>1602.9464201043099</c:v>
                </c:pt>
                <c:pt idx="4573">
                  <c:v>1618.2709815078199</c:v>
                </c:pt>
                <c:pt idx="4574">
                  <c:v>1597.46538643907</c:v>
                </c:pt>
                <c:pt idx="4575">
                  <c:v>1582.8847795163499</c:v>
                </c:pt>
                <c:pt idx="4576">
                  <c:v>1593.6012328117499</c:v>
                </c:pt>
                <c:pt idx="4577">
                  <c:v>1588.38454243717</c:v>
                </c:pt>
                <c:pt idx="4578">
                  <c:v>1585.61640587956</c:v>
                </c:pt>
                <c:pt idx="4579">
                  <c:v>1586.4969179706</c:v>
                </c:pt>
                <c:pt idx="4580">
                  <c:v>1605.2847321005199</c:v>
                </c:pt>
                <c:pt idx="4581">
                  <c:v>1626.48672356567</c:v>
                </c:pt>
                <c:pt idx="4582">
                  <c:v>1644.15908013276</c:v>
                </c:pt>
                <c:pt idx="4583">
                  <c:v>1629.4125177809301</c:v>
                </c:pt>
                <c:pt idx="4584">
                  <c:v>1618.3333333333301</c:v>
                </c:pt>
                <c:pt idx="4585">
                  <c:v>1626.9471313418601</c:v>
                </c:pt>
                <c:pt idx="4586">
                  <c:v>1630.4137031768601</c:v>
                </c:pt>
                <c:pt idx="4587">
                  <c:v>1628.03295400663</c:v>
                </c:pt>
                <c:pt idx="4588">
                  <c:v>1625.23091512565</c:v>
                </c:pt>
                <c:pt idx="4589">
                  <c:v>1631.9981033665199</c:v>
                </c:pt>
                <c:pt idx="4590">
                  <c:v>1642.58392603129</c:v>
                </c:pt>
                <c:pt idx="4591">
                  <c:v>1645.0258416311001</c:v>
                </c:pt>
                <c:pt idx="4592">
                  <c:v>1644.7543859649099</c:v>
                </c:pt>
                <c:pt idx="4593">
                  <c:v>1637.7449027975299</c:v>
                </c:pt>
                <c:pt idx="4594">
                  <c:v>1637.77382645803</c:v>
                </c:pt>
                <c:pt idx="4595">
                  <c:v>1641.94784257942</c:v>
                </c:pt>
                <c:pt idx="4596">
                  <c:v>1659.9907539118001</c:v>
                </c:pt>
                <c:pt idx="4597">
                  <c:v>1674.3620199146501</c:v>
                </c:pt>
                <c:pt idx="4598">
                  <c:v>1684.47771455666</c:v>
                </c:pt>
                <c:pt idx="4599">
                  <c:v>1699.7629208155499</c:v>
                </c:pt>
                <c:pt idx="4600">
                  <c:v>1665.9630156472199</c:v>
                </c:pt>
                <c:pt idx="4601">
                  <c:v>1660.6495969653799</c:v>
                </c:pt>
                <c:pt idx="4602">
                  <c:v>1651.5395922237999</c:v>
                </c:pt>
                <c:pt idx="4603">
                  <c:v>1647.6917970602101</c:v>
                </c:pt>
                <c:pt idx="4604">
                  <c:v>1662.7050734945401</c:v>
                </c:pt>
                <c:pt idx="4605">
                  <c:v>1665.5407776197201</c:v>
                </c:pt>
                <c:pt idx="4606">
                  <c:v>1676.75272641062</c:v>
                </c:pt>
                <c:pt idx="4607">
                  <c:v>1680.06211474632</c:v>
                </c:pt>
                <c:pt idx="4608">
                  <c:v>1686.2747747747701</c:v>
                </c:pt>
                <c:pt idx="4609">
                  <c:v>1720.0229966808899</c:v>
                </c:pt>
                <c:pt idx="4610">
                  <c:v>1706.1119013750499</c:v>
                </c:pt>
                <c:pt idx="4611">
                  <c:v>1684.58605974395</c:v>
                </c:pt>
                <c:pt idx="4612">
                  <c:v>1678.3731626363201</c:v>
                </c:pt>
                <c:pt idx="4613">
                  <c:v>1677.2171645329499</c:v>
                </c:pt>
                <c:pt idx="4614">
                  <c:v>1691.95945945945</c:v>
                </c:pt>
                <c:pt idx="4615">
                  <c:v>1693.14153627311</c:v>
                </c:pt>
                <c:pt idx="4616">
                  <c:v>1713.7697961119</c:v>
                </c:pt>
                <c:pt idx="4617">
                  <c:v>1730.4231863442301</c:v>
                </c:pt>
                <c:pt idx="4618">
                  <c:v>1744.0990990990899</c:v>
                </c:pt>
                <c:pt idx="4619">
                  <c:v>1757.7581792318599</c:v>
                </c:pt>
                <c:pt idx="4620">
                  <c:v>1747.05689900426</c:v>
                </c:pt>
                <c:pt idx="4621">
                  <c:v>1716.7247510668501</c:v>
                </c:pt>
                <c:pt idx="4622">
                  <c:v>1730.39687055476</c:v>
                </c:pt>
                <c:pt idx="4623">
                  <c:v>1774.62612612612</c:v>
                </c:pt>
                <c:pt idx="4624">
                  <c:v>1790.2927927927899</c:v>
                </c:pt>
                <c:pt idx="4625">
                  <c:v>1768.3916548126999</c:v>
                </c:pt>
                <c:pt idx="4626">
                  <c:v>1767.34850640113</c:v>
                </c:pt>
                <c:pt idx="4627">
                  <c:v>1773.475580844</c:v>
                </c:pt>
                <c:pt idx="4628">
                  <c:v>1764.8169748696</c:v>
                </c:pt>
                <c:pt idx="4629">
                  <c:v>1759.70531057373</c:v>
                </c:pt>
                <c:pt idx="4630">
                  <c:v>1765.1920341394</c:v>
                </c:pt>
                <c:pt idx="4631">
                  <c:v>1761.14106211474</c:v>
                </c:pt>
                <c:pt idx="4632">
                  <c:v>1774.04623044096</c:v>
                </c:pt>
                <c:pt idx="4633">
                  <c:v>1754.4449976292001</c:v>
                </c:pt>
                <c:pt idx="4634">
                  <c:v>1756.2842579421499</c:v>
                </c:pt>
                <c:pt idx="4635">
                  <c:v>1786.5497866287301</c:v>
                </c:pt>
                <c:pt idx="4636">
                  <c:v>1800.4748696064401</c:v>
                </c:pt>
                <c:pt idx="4637">
                  <c:v>1799.34732100521</c:v>
                </c:pt>
                <c:pt idx="4638">
                  <c:v>1814.4748696064401</c:v>
                </c:pt>
                <c:pt idx="4639">
                  <c:v>1801.7271218587</c:v>
                </c:pt>
                <c:pt idx="4640">
                  <c:v>1808.7503556187701</c:v>
                </c:pt>
                <c:pt idx="4641">
                  <c:v>1800.90635372214</c:v>
                </c:pt>
                <c:pt idx="4642">
                  <c:v>1750.25320056898</c:v>
                </c:pt>
                <c:pt idx="4643">
                  <c:v>1745.2325746799399</c:v>
                </c:pt>
                <c:pt idx="4644">
                  <c:v>1779.8933143669899</c:v>
                </c:pt>
                <c:pt idx="4645">
                  <c:v>1811.7619724988101</c:v>
                </c:pt>
                <c:pt idx="4646">
                  <c:v>1806.32716927453</c:v>
                </c:pt>
                <c:pt idx="4647">
                  <c:v>1795.41654812707</c:v>
                </c:pt>
                <c:pt idx="4648">
                  <c:v>1793.9449976292001</c:v>
                </c:pt>
                <c:pt idx="4649">
                  <c:v>1812.39094357515</c:v>
                </c:pt>
                <c:pt idx="4650">
                  <c:v>1818.2081555239399</c:v>
                </c:pt>
                <c:pt idx="4651">
                  <c:v>1818.6865813181601</c:v>
                </c:pt>
                <c:pt idx="4652">
                  <c:v>1814.77382645803</c:v>
                </c:pt>
                <c:pt idx="4653">
                  <c:v>1819.4357515410099</c:v>
                </c:pt>
                <c:pt idx="4654">
                  <c:v>1836.9203413940199</c:v>
                </c:pt>
                <c:pt idx="4655">
                  <c:v>1846.6220957799901</c:v>
                </c:pt>
                <c:pt idx="4656">
                  <c:v>1853.66334755808</c:v>
                </c:pt>
                <c:pt idx="4657">
                  <c:v>1868.8549075391099</c:v>
                </c:pt>
                <c:pt idx="4658">
                  <c:v>1868.45851114272</c:v>
                </c:pt>
                <c:pt idx="4659">
                  <c:v>1864.9137031768601</c:v>
                </c:pt>
                <c:pt idx="4660">
                  <c:v>1861.4423897581701</c:v>
                </c:pt>
                <c:pt idx="4661">
                  <c:v>1844.67117117117</c:v>
                </c:pt>
                <c:pt idx="4662">
                  <c:v>1836.4509246088101</c:v>
                </c:pt>
                <c:pt idx="4663">
                  <c:v>1842.39046941678</c:v>
                </c:pt>
                <c:pt idx="4664">
                  <c:v>1836.8895211000399</c:v>
                </c:pt>
                <c:pt idx="4665">
                  <c:v>1838.0156472261699</c:v>
                </c:pt>
                <c:pt idx="4666">
                  <c:v>1852.2157420578401</c:v>
                </c:pt>
                <c:pt idx="4667">
                  <c:v>1865.3264580369801</c:v>
                </c:pt>
                <c:pt idx="4668">
                  <c:v>1878.64841156946</c:v>
                </c:pt>
                <c:pt idx="4669">
                  <c:v>1861.07823613086</c:v>
                </c:pt>
                <c:pt idx="4670">
                  <c:v>1840.21052631578</c:v>
                </c:pt>
                <c:pt idx="4671">
                  <c:v>1841.9838786154501</c:v>
                </c:pt>
                <c:pt idx="4672">
                  <c:v>1845.0938833570401</c:v>
                </c:pt>
                <c:pt idx="4673">
                  <c:v>1855.34257942152</c:v>
                </c:pt>
                <c:pt idx="4674">
                  <c:v>1882.5343764817401</c:v>
                </c:pt>
                <c:pt idx="4675">
                  <c:v>1906.97344713134</c:v>
                </c:pt>
                <c:pt idx="4676">
                  <c:v>1892.0289236604999</c:v>
                </c:pt>
                <c:pt idx="4677">
                  <c:v>1898.4800853485001</c:v>
                </c:pt>
                <c:pt idx="4678">
                  <c:v>1871.4001896633399</c:v>
                </c:pt>
                <c:pt idx="4679">
                  <c:v>1846.3944997629201</c:v>
                </c:pt>
                <c:pt idx="4680">
                  <c:v>1852.6737790422001</c:v>
                </c:pt>
                <c:pt idx="4681">
                  <c:v>1872.4013750592601</c:v>
                </c:pt>
                <c:pt idx="4682">
                  <c:v>1866.5120910384001</c:v>
                </c:pt>
                <c:pt idx="4683">
                  <c:v>1854.7949265054499</c:v>
                </c:pt>
                <c:pt idx="4684">
                  <c:v>1828.74419155998</c:v>
                </c:pt>
                <c:pt idx="4685">
                  <c:v>1852.1247036510099</c:v>
                </c:pt>
                <c:pt idx="4686">
                  <c:v>1846.3262209577899</c:v>
                </c:pt>
                <c:pt idx="4687">
                  <c:v>1839.92176386913</c:v>
                </c:pt>
                <c:pt idx="4688">
                  <c:v>1870.35064011379</c:v>
                </c:pt>
                <c:pt idx="4689">
                  <c:v>1870.1005215742</c:v>
                </c:pt>
                <c:pt idx="4690">
                  <c:v>1866.49620673304</c:v>
                </c:pt>
                <c:pt idx="4691">
                  <c:v>1873.54030346135</c:v>
                </c:pt>
                <c:pt idx="4692">
                  <c:v>1862.4241346609699</c:v>
                </c:pt>
                <c:pt idx="4693">
                  <c:v>1872.2361308677</c:v>
                </c:pt>
                <c:pt idx="4694">
                  <c:v>1882.2657657657601</c:v>
                </c:pt>
                <c:pt idx="4695">
                  <c:v>1889.2470365101899</c:v>
                </c:pt>
                <c:pt idx="4696">
                  <c:v>1886.0357989568499</c:v>
                </c:pt>
                <c:pt idx="4697">
                  <c:v>1872.83878615457</c:v>
                </c:pt>
                <c:pt idx="4698">
                  <c:v>1915.1597913703099</c:v>
                </c:pt>
                <c:pt idx="4699">
                  <c:v>1915.55950687529</c:v>
                </c:pt>
                <c:pt idx="4700">
                  <c:v>1871.98411569464</c:v>
                </c:pt>
                <c:pt idx="4701">
                  <c:v>1874.14580369843</c:v>
                </c:pt>
                <c:pt idx="4702">
                  <c:v>1891.4642010431401</c:v>
                </c:pt>
                <c:pt idx="4703">
                  <c:v>1887.8008534850601</c:v>
                </c:pt>
                <c:pt idx="4704">
                  <c:v>1893.3897581792301</c:v>
                </c:pt>
                <c:pt idx="4705">
                  <c:v>1924.80844001896</c:v>
                </c:pt>
                <c:pt idx="4706">
                  <c:v>1922.17235656709</c:v>
                </c:pt>
                <c:pt idx="4707">
                  <c:v>1932.45258416311</c:v>
                </c:pt>
                <c:pt idx="4708">
                  <c:v>1951.9298245614</c:v>
                </c:pt>
                <c:pt idx="4709">
                  <c:v>1960.7731152204799</c:v>
                </c:pt>
                <c:pt idx="4710">
                  <c:v>1944.8373636794599</c:v>
                </c:pt>
                <c:pt idx="4711">
                  <c:v>1935.5896159317199</c:v>
                </c:pt>
                <c:pt idx="4712">
                  <c:v>1947.9506875296299</c:v>
                </c:pt>
                <c:pt idx="4713">
                  <c:v>1957.8119962067301</c:v>
                </c:pt>
                <c:pt idx="4714">
                  <c:v>1953.5545282124201</c:v>
                </c:pt>
                <c:pt idx="4715">
                  <c:v>1956.6062114746301</c:v>
                </c:pt>
                <c:pt idx="4716">
                  <c:v>1984.9954954954901</c:v>
                </c:pt>
                <c:pt idx="4717">
                  <c:v>1993.6491228070099</c:v>
                </c:pt>
                <c:pt idx="4718">
                  <c:v>1989.14888572783</c:v>
                </c:pt>
                <c:pt idx="4719">
                  <c:v>1981.18468468468</c:v>
                </c:pt>
                <c:pt idx="4720">
                  <c:v>1988.2825983878599</c:v>
                </c:pt>
                <c:pt idx="4721">
                  <c:v>2003.55215742057</c:v>
                </c:pt>
                <c:pt idx="4722">
                  <c:v>2017.7240398293</c:v>
                </c:pt>
                <c:pt idx="4723">
                  <c:v>2019.1688003793199</c:v>
                </c:pt>
                <c:pt idx="4724">
                  <c:v>2019.1858700805999</c:v>
                </c:pt>
                <c:pt idx="4725">
                  <c:v>2024.6991465149299</c:v>
                </c:pt>
                <c:pt idx="4726">
                  <c:v>2031.23992413466</c:v>
                </c:pt>
                <c:pt idx="4727">
                  <c:v>2022.7389758179199</c:v>
                </c:pt>
                <c:pt idx="4728">
                  <c:v>2032.6953532479799</c:v>
                </c:pt>
                <c:pt idx="4729">
                  <c:v>2058.94476055002</c:v>
                </c:pt>
                <c:pt idx="4730">
                  <c:v>2058.76908487434</c:v>
                </c:pt>
                <c:pt idx="4731">
                  <c:v>2043.0789473684199</c:v>
                </c:pt>
                <c:pt idx="4732">
                  <c:v>2014.1249407302</c:v>
                </c:pt>
                <c:pt idx="4733">
                  <c:v>2011.52607871028</c:v>
                </c:pt>
                <c:pt idx="4734">
                  <c:v>2076.6806543385401</c:v>
                </c:pt>
                <c:pt idx="4735">
                  <c:v>2128.2878141299102</c:v>
                </c:pt>
                <c:pt idx="4736">
                  <c:v>2138.2254623044</c:v>
                </c:pt>
                <c:pt idx="4737">
                  <c:v>2138.9973921289702</c:v>
                </c:pt>
                <c:pt idx="4738">
                  <c:v>2098.2688477951601</c:v>
                </c:pt>
                <c:pt idx="4739">
                  <c:v>2037.2214319582699</c:v>
                </c:pt>
                <c:pt idx="4740">
                  <c:v>2033.5789473684199</c:v>
                </c:pt>
                <c:pt idx="4741">
                  <c:v>2040.0045045044999</c:v>
                </c:pt>
                <c:pt idx="4742">
                  <c:v>2064.2114746325201</c:v>
                </c:pt>
                <c:pt idx="4743">
                  <c:v>2105.2932669511601</c:v>
                </c:pt>
                <c:pt idx="4744">
                  <c:v>2125.4912280701701</c:v>
                </c:pt>
                <c:pt idx="4745">
                  <c:v>2098.1405879563699</c:v>
                </c:pt>
                <c:pt idx="4746">
                  <c:v>2105.3466097676601</c:v>
                </c:pt>
                <c:pt idx="4747">
                  <c:v>2117.1450924608798</c:v>
                </c:pt>
                <c:pt idx="4748">
                  <c:v>2128.8193456614499</c:v>
                </c:pt>
                <c:pt idx="4749">
                  <c:v>2146.9649122807</c:v>
                </c:pt>
                <c:pt idx="4750">
                  <c:v>2149.2605500237</c:v>
                </c:pt>
                <c:pt idx="4751">
                  <c:v>2151.1820768136499</c:v>
                </c:pt>
                <c:pt idx="4752">
                  <c:v>2157.9502133712599</c:v>
                </c:pt>
                <c:pt idx="4753">
                  <c:v>2142.9227121858698</c:v>
                </c:pt>
                <c:pt idx="4754">
                  <c:v>2140.3537221431902</c:v>
                </c:pt>
                <c:pt idx="4755">
                  <c:v>2126.2486960644801</c:v>
                </c:pt>
                <c:pt idx="4756">
                  <c:v>2159.9981033665199</c:v>
                </c:pt>
                <c:pt idx="4757">
                  <c:v>2201.5796586059701</c:v>
                </c:pt>
                <c:pt idx="4758">
                  <c:v>2214.6472261735398</c:v>
                </c:pt>
                <c:pt idx="4759">
                  <c:v>2220.6955903271601</c:v>
                </c:pt>
                <c:pt idx="4760">
                  <c:v>2227.4269796111898</c:v>
                </c:pt>
                <c:pt idx="4761">
                  <c:v>2207.7110004741498</c:v>
                </c:pt>
                <c:pt idx="4762">
                  <c:v>2204.6984352773802</c:v>
                </c:pt>
                <c:pt idx="4763">
                  <c:v>2213.7607871028899</c:v>
                </c:pt>
                <c:pt idx="4764">
                  <c:v>2198.4720246562301</c:v>
                </c:pt>
                <c:pt idx="4765">
                  <c:v>2193.28402086296</c:v>
                </c:pt>
                <c:pt idx="4766">
                  <c:v>2177.2164532953998</c:v>
                </c:pt>
                <c:pt idx="4767">
                  <c:v>2203.3134186818302</c:v>
                </c:pt>
                <c:pt idx="4768">
                  <c:v>2235.5820293978099</c:v>
                </c:pt>
                <c:pt idx="4769">
                  <c:v>2229.13181602655</c:v>
                </c:pt>
                <c:pt idx="4770">
                  <c:v>2234.1384542437099</c:v>
                </c:pt>
                <c:pt idx="4771">
                  <c:v>2260.2764343290601</c:v>
                </c:pt>
                <c:pt idx="4772">
                  <c:v>2253.0251303935502</c:v>
                </c:pt>
                <c:pt idx="4773">
                  <c:v>2268.47866287339</c:v>
                </c:pt>
                <c:pt idx="4774">
                  <c:v>2295.7197724039802</c:v>
                </c:pt>
                <c:pt idx="4775">
                  <c:v>2296.3930772878098</c:v>
                </c:pt>
                <c:pt idx="4776">
                  <c:v>2295.9995258416302</c:v>
                </c:pt>
                <c:pt idx="4777">
                  <c:v>2277.39995258416</c:v>
                </c:pt>
                <c:pt idx="4778">
                  <c:v>2292.4464201043102</c:v>
                </c:pt>
                <c:pt idx="4779">
                  <c:v>2317.0523944997599</c:v>
                </c:pt>
                <c:pt idx="4780">
                  <c:v>2306.1588430535699</c:v>
                </c:pt>
                <c:pt idx="4781">
                  <c:v>2311.9113323850102</c:v>
                </c:pt>
                <c:pt idx="4782">
                  <c:v>2300.8653390232298</c:v>
                </c:pt>
                <c:pt idx="4783">
                  <c:v>2312.2076813655699</c:v>
                </c:pt>
                <c:pt idx="4784">
                  <c:v>2339.4262683736301</c:v>
                </c:pt>
                <c:pt idx="4785">
                  <c:v>2356.8063063063</c:v>
                </c:pt>
                <c:pt idx="4786">
                  <c:v>2337.4241346609701</c:v>
                </c:pt>
                <c:pt idx="4787">
                  <c:v>2299.6014698909398</c:v>
                </c:pt>
                <c:pt idx="4788">
                  <c:v>2282.1367946894202</c:v>
                </c:pt>
                <c:pt idx="4789">
                  <c:v>2302.5082977714501</c:v>
                </c:pt>
                <c:pt idx="4790">
                  <c:v>2323.2958748221899</c:v>
                </c:pt>
                <c:pt idx="4791">
                  <c:v>2325.69464201043</c:v>
                </c:pt>
                <c:pt idx="4792">
                  <c:v>2318.8982930298698</c:v>
                </c:pt>
                <c:pt idx="4793">
                  <c:v>2346.1327643432901</c:v>
                </c:pt>
                <c:pt idx="4794">
                  <c:v>2366.7849691797001</c:v>
                </c:pt>
                <c:pt idx="4795">
                  <c:v>2355.8873873873799</c:v>
                </c:pt>
                <c:pt idx="4796">
                  <c:v>2330.5711237553301</c:v>
                </c:pt>
                <c:pt idx="4797">
                  <c:v>2352.9649122807</c:v>
                </c:pt>
                <c:pt idx="4798">
                  <c:v>2376.7527264106202</c:v>
                </c:pt>
                <c:pt idx="4799">
                  <c:v>2390.4751066856302</c:v>
                </c:pt>
                <c:pt idx="4800">
                  <c:v>2383.1289710763299</c:v>
                </c:pt>
                <c:pt idx="4801">
                  <c:v>2381.6218587008002</c:v>
                </c:pt>
                <c:pt idx="4802">
                  <c:v>2377.1813655760998</c:v>
                </c:pt>
                <c:pt idx="4803">
                  <c:v>2366.9774774774701</c:v>
                </c:pt>
                <c:pt idx="4804">
                  <c:v>2365.4791370317598</c:v>
                </c:pt>
                <c:pt idx="4805">
                  <c:v>2388.1868183973402</c:v>
                </c:pt>
                <c:pt idx="4806">
                  <c:v>2417.5507349454701</c:v>
                </c:pt>
                <c:pt idx="4807">
                  <c:v>2464.6569464201002</c:v>
                </c:pt>
                <c:pt idx="4808">
                  <c:v>2489.9144144144102</c:v>
                </c:pt>
                <c:pt idx="4809">
                  <c:v>2449.6059743954402</c:v>
                </c:pt>
                <c:pt idx="4810">
                  <c:v>2406.5182550971999</c:v>
                </c:pt>
                <c:pt idx="4811">
                  <c:v>2404.1040777619701</c:v>
                </c:pt>
                <c:pt idx="4812">
                  <c:v>2405.1920341394002</c:v>
                </c:pt>
                <c:pt idx="4813">
                  <c:v>2420.8560929350401</c:v>
                </c:pt>
                <c:pt idx="4814">
                  <c:v>2467.0151730677999</c:v>
                </c:pt>
                <c:pt idx="4815">
                  <c:v>2483.6538643907002</c:v>
                </c:pt>
                <c:pt idx="4816">
                  <c:v>2483.95851114272</c:v>
                </c:pt>
                <c:pt idx="4817">
                  <c:v>2461.2439544807899</c:v>
                </c:pt>
                <c:pt idx="4818">
                  <c:v>2448.1175912754802</c:v>
                </c:pt>
                <c:pt idx="4819">
                  <c:v>2435.88833570412</c:v>
                </c:pt>
                <c:pt idx="4820">
                  <c:v>2459.3108108108099</c:v>
                </c:pt>
                <c:pt idx="4821">
                  <c:v>2468.8636794689401</c:v>
                </c:pt>
                <c:pt idx="4822">
                  <c:v>2443.1441441441398</c:v>
                </c:pt>
                <c:pt idx="4823">
                  <c:v>2446.5474158368802</c:v>
                </c:pt>
                <c:pt idx="4824">
                  <c:v>2464.5647226173501</c:v>
                </c:pt>
                <c:pt idx="4825">
                  <c:v>2488.7735893788499</c:v>
                </c:pt>
                <c:pt idx="4826">
                  <c:v>2496.5097202465599</c:v>
                </c:pt>
                <c:pt idx="4827">
                  <c:v>2484.0633001422402</c:v>
                </c:pt>
                <c:pt idx="4828">
                  <c:v>2487.4689426268301</c:v>
                </c:pt>
                <c:pt idx="4829">
                  <c:v>2499.1088193456599</c:v>
                </c:pt>
                <c:pt idx="4830">
                  <c:v>2487.24158368895</c:v>
                </c:pt>
                <c:pt idx="4831">
                  <c:v>2470.6102418207602</c:v>
                </c:pt>
                <c:pt idx="4832">
                  <c:v>2481.9284020862901</c:v>
                </c:pt>
                <c:pt idx="4833">
                  <c:v>2535.5998103366501</c:v>
                </c:pt>
                <c:pt idx="4834">
                  <c:v>2529.7942152678902</c:v>
                </c:pt>
                <c:pt idx="4835">
                  <c:v>2524.2987197724001</c:v>
                </c:pt>
                <c:pt idx="4836">
                  <c:v>2535.1491228070099</c:v>
                </c:pt>
                <c:pt idx="4837">
                  <c:v>2543.8579895685102</c:v>
                </c:pt>
                <c:pt idx="4838">
                  <c:v>2542.57562825983</c:v>
                </c:pt>
                <c:pt idx="4839">
                  <c:v>2544.03082029397</c:v>
                </c:pt>
                <c:pt idx="4840">
                  <c:v>2541.82669511616</c:v>
                </c:pt>
                <c:pt idx="4841">
                  <c:v>2520.7622095779898</c:v>
                </c:pt>
                <c:pt idx="4842">
                  <c:v>2513.0934091986701</c:v>
                </c:pt>
                <c:pt idx="4843">
                  <c:v>2501.6849217638601</c:v>
                </c:pt>
                <c:pt idx="4844">
                  <c:v>2542.0962541488798</c:v>
                </c:pt>
                <c:pt idx="4845">
                  <c:v>2562.53722143195</c:v>
                </c:pt>
                <c:pt idx="4846">
                  <c:v>2516.9677572309101</c:v>
                </c:pt>
                <c:pt idx="4847">
                  <c:v>2495.5523944997599</c:v>
                </c:pt>
                <c:pt idx="4848">
                  <c:v>2513.5862968231299</c:v>
                </c:pt>
                <c:pt idx="4849">
                  <c:v>2541.5550023707901</c:v>
                </c:pt>
                <c:pt idx="4850">
                  <c:v>2553.5877192982398</c:v>
                </c:pt>
                <c:pt idx="4851">
                  <c:v>2532.89046941678</c:v>
                </c:pt>
                <c:pt idx="4852">
                  <c:v>2502.94570886676</c:v>
                </c:pt>
                <c:pt idx="4853">
                  <c:v>2498.02347083926</c:v>
                </c:pt>
                <c:pt idx="4854">
                  <c:v>2522.5832147937399</c:v>
                </c:pt>
                <c:pt idx="4855">
                  <c:v>2525.77880512091</c:v>
                </c:pt>
                <c:pt idx="4856">
                  <c:v>2517.1168800379301</c:v>
                </c:pt>
                <c:pt idx="4857">
                  <c:v>2526.7700331910801</c:v>
                </c:pt>
                <c:pt idx="4858">
                  <c:v>2537.7219061166402</c:v>
                </c:pt>
                <c:pt idx="4859">
                  <c:v>2535.9625414888501</c:v>
                </c:pt>
                <c:pt idx="4860">
                  <c:v>2541.0279753437599</c:v>
                </c:pt>
                <c:pt idx="4861">
                  <c:v>2539.8852536747199</c:v>
                </c:pt>
                <c:pt idx="4862">
                  <c:v>2544.76173541962</c:v>
                </c:pt>
                <c:pt idx="4863">
                  <c:v>2538.3696064485498</c:v>
                </c:pt>
                <c:pt idx="4864">
                  <c:v>2505.0327169274501</c:v>
                </c:pt>
                <c:pt idx="4865">
                  <c:v>2502.0687529634802</c:v>
                </c:pt>
                <c:pt idx="4866">
                  <c:v>2518.5896159317199</c:v>
                </c:pt>
                <c:pt idx="4867">
                  <c:v>2551.795637743</c:v>
                </c:pt>
                <c:pt idx="4868">
                  <c:v>2551.5315315315302</c:v>
                </c:pt>
                <c:pt idx="4869">
                  <c:v>2565.18942626837</c:v>
                </c:pt>
                <c:pt idx="4870">
                  <c:v>2586.8899952584102</c:v>
                </c:pt>
                <c:pt idx="4871">
                  <c:v>2572.2252252252201</c:v>
                </c:pt>
                <c:pt idx="4872">
                  <c:v>2569.64888572783</c:v>
                </c:pt>
                <c:pt idx="4873">
                  <c:v>2600.3873873873799</c:v>
                </c:pt>
                <c:pt idx="4874">
                  <c:v>2606.8065433854899</c:v>
                </c:pt>
                <c:pt idx="4875">
                  <c:v>2582.8812233285898</c:v>
                </c:pt>
                <c:pt idx="4876">
                  <c:v>2550.7567567567498</c:v>
                </c:pt>
                <c:pt idx="4877">
                  <c:v>2518.49265054528</c:v>
                </c:pt>
                <c:pt idx="4878">
                  <c:v>2523.2643432906498</c:v>
                </c:pt>
                <c:pt idx="4879">
                  <c:v>2559.7662399241299</c:v>
                </c:pt>
                <c:pt idx="4880">
                  <c:v>2566.2688477951601</c:v>
                </c:pt>
                <c:pt idx="4881">
                  <c:v>2557.88074917022</c:v>
                </c:pt>
                <c:pt idx="4882">
                  <c:v>2548.4217638691298</c:v>
                </c:pt>
                <c:pt idx="4883">
                  <c:v>2552.3764817449</c:v>
                </c:pt>
                <c:pt idx="4884">
                  <c:v>2571.80535798956</c:v>
                </c:pt>
                <c:pt idx="4885">
                  <c:v>2565.1514935988598</c:v>
                </c:pt>
                <c:pt idx="4886">
                  <c:v>2576.9355144618298</c:v>
                </c:pt>
                <c:pt idx="4887">
                  <c:v>2625.49881460407</c:v>
                </c:pt>
                <c:pt idx="4888">
                  <c:v>2617.8911806543301</c:v>
                </c:pt>
                <c:pt idx="4889">
                  <c:v>2591.9516358463702</c:v>
                </c:pt>
                <c:pt idx="4890">
                  <c:v>2622.0699383594101</c:v>
                </c:pt>
                <c:pt idx="4891">
                  <c:v>2696.4001896633399</c:v>
                </c:pt>
                <c:pt idx="4892">
                  <c:v>2696.92128971076</c:v>
                </c:pt>
                <c:pt idx="4893">
                  <c:v>2664.0886676149798</c:v>
                </c:pt>
                <c:pt idx="4894">
                  <c:v>2669.9746325272599</c:v>
                </c:pt>
                <c:pt idx="4895">
                  <c:v>2672.7349454717801</c:v>
                </c:pt>
                <c:pt idx="4896">
                  <c:v>2673.3449502133699</c:v>
                </c:pt>
                <c:pt idx="4897">
                  <c:v>2677.2795163584601</c:v>
                </c:pt>
                <c:pt idx="4898">
                  <c:v>2669.4184447605398</c:v>
                </c:pt>
                <c:pt idx="4899">
                  <c:v>2675.9784257942101</c:v>
                </c:pt>
                <c:pt idx="4900">
                  <c:v>2669.74585111427</c:v>
                </c:pt>
                <c:pt idx="4901">
                  <c:v>2684.4587482218999</c:v>
                </c:pt>
                <c:pt idx="4902">
                  <c:v>2730.8015647226098</c:v>
                </c:pt>
                <c:pt idx="4903">
                  <c:v>2731.1273115220401</c:v>
                </c:pt>
                <c:pt idx="4904">
                  <c:v>2708.87126600284</c:v>
                </c:pt>
                <c:pt idx="4905">
                  <c:v>2712.3812233285898</c:v>
                </c:pt>
                <c:pt idx="4906">
                  <c:v>2682.05310573731</c:v>
                </c:pt>
                <c:pt idx="4907">
                  <c:v>2689.64675201517</c:v>
                </c:pt>
                <c:pt idx="4908">
                  <c:v>2734.79137031768</c:v>
                </c:pt>
                <c:pt idx="4909">
                  <c:v>2744.64461830251</c:v>
                </c:pt>
                <c:pt idx="4910">
                  <c:v>2714.4698909435701</c:v>
                </c:pt>
                <c:pt idx="4911">
                  <c:v>2701.8444760550001</c:v>
                </c:pt>
                <c:pt idx="4912">
                  <c:v>2716.1647700331901</c:v>
                </c:pt>
                <c:pt idx="4913">
                  <c:v>2752.7965860597401</c:v>
                </c:pt>
                <c:pt idx="4914">
                  <c:v>2771.10099573257</c:v>
                </c:pt>
                <c:pt idx="4915">
                  <c:v>2804.6097676623899</c:v>
                </c:pt>
                <c:pt idx="4916">
                  <c:v>2810.8949739212799</c:v>
                </c:pt>
                <c:pt idx="4917">
                  <c:v>2765.3641536273099</c:v>
                </c:pt>
                <c:pt idx="4918">
                  <c:v>2747.6849217638601</c:v>
                </c:pt>
                <c:pt idx="4919">
                  <c:v>2780.0324798482602</c:v>
                </c:pt>
                <c:pt idx="4920">
                  <c:v>2796.75106685632</c:v>
                </c:pt>
                <c:pt idx="4921">
                  <c:v>2789.1567093409099</c:v>
                </c:pt>
                <c:pt idx="4922">
                  <c:v>2778.8321479374099</c:v>
                </c:pt>
                <c:pt idx="4923">
                  <c:v>2826.5668563300101</c:v>
                </c:pt>
                <c:pt idx="4924">
                  <c:v>2841.0779990516799</c:v>
                </c:pt>
                <c:pt idx="4925">
                  <c:v>2812.1204362256899</c:v>
                </c:pt>
                <c:pt idx="4926">
                  <c:v>2817.27975343764</c:v>
                </c:pt>
                <c:pt idx="4927">
                  <c:v>2815.7389758179202</c:v>
                </c:pt>
                <c:pt idx="4928">
                  <c:v>2798.3394973921199</c:v>
                </c:pt>
                <c:pt idx="4929">
                  <c:v>2777.16382171645</c:v>
                </c:pt>
                <c:pt idx="4930">
                  <c:v>2779.6706970127998</c:v>
                </c:pt>
                <c:pt idx="4931">
                  <c:v>2803.3897581792298</c:v>
                </c:pt>
                <c:pt idx="4932">
                  <c:v>2803.3454243717401</c:v>
                </c:pt>
                <c:pt idx="4933">
                  <c:v>2829.7422949265001</c:v>
                </c:pt>
                <c:pt idx="4934">
                  <c:v>2846.6541014698901</c:v>
                </c:pt>
                <c:pt idx="4935">
                  <c:v>2824.8176861071502</c:v>
                </c:pt>
                <c:pt idx="4936">
                  <c:v>2811.9172593646199</c:v>
                </c:pt>
                <c:pt idx="4937">
                  <c:v>2778.7200094831601</c:v>
                </c:pt>
                <c:pt idx="4938">
                  <c:v>2766.5379326695102</c:v>
                </c:pt>
                <c:pt idx="4939">
                  <c:v>2780.6156946420101</c:v>
                </c:pt>
                <c:pt idx="4940">
                  <c:v>2797.55737316263</c:v>
                </c:pt>
                <c:pt idx="4941">
                  <c:v>2792.39900426742</c:v>
                </c:pt>
                <c:pt idx="4942">
                  <c:v>2786.3624940730201</c:v>
                </c:pt>
                <c:pt idx="4943">
                  <c:v>2781.0516832622002</c:v>
                </c:pt>
                <c:pt idx="4944">
                  <c:v>2751.3662873399699</c:v>
                </c:pt>
                <c:pt idx="4945">
                  <c:v>2746.3295400663801</c:v>
                </c:pt>
                <c:pt idx="4946">
                  <c:v>2766.9715504978599</c:v>
                </c:pt>
                <c:pt idx="4947">
                  <c:v>2817.9454717875701</c:v>
                </c:pt>
                <c:pt idx="4948">
                  <c:v>2865.3141299193899</c:v>
                </c:pt>
                <c:pt idx="4949">
                  <c:v>2841.9023233759999</c:v>
                </c:pt>
                <c:pt idx="4950">
                  <c:v>2811.68397344713</c:v>
                </c:pt>
                <c:pt idx="4951">
                  <c:v>2806.6190137505901</c:v>
                </c:pt>
                <c:pt idx="4952">
                  <c:v>2835.3845424371698</c:v>
                </c:pt>
                <c:pt idx="4953">
                  <c:v>2863.42437174016</c:v>
                </c:pt>
                <c:pt idx="4954">
                  <c:v>2839.3082029397801</c:v>
                </c:pt>
                <c:pt idx="4955">
                  <c:v>2841.2136083451801</c:v>
                </c:pt>
                <c:pt idx="4956">
                  <c:v>2861.0654338549002</c:v>
                </c:pt>
                <c:pt idx="4957">
                  <c:v>2899.9485538169702</c:v>
                </c:pt>
                <c:pt idx="4958">
                  <c:v>2939.79042200094</c:v>
                </c:pt>
                <c:pt idx="4959">
                  <c:v>2911.7238027501098</c:v>
                </c:pt>
                <c:pt idx="4960">
                  <c:v>2926.5438596491199</c:v>
                </c:pt>
                <c:pt idx="4961">
                  <c:v>2942.7157420578401</c:v>
                </c:pt>
                <c:pt idx="4962">
                  <c:v>2955.4250829777102</c:v>
                </c:pt>
                <c:pt idx="4963">
                  <c:v>2965.4928876244599</c:v>
                </c:pt>
                <c:pt idx="4964">
                  <c:v>2956.9518729255501</c:v>
                </c:pt>
                <c:pt idx="4965">
                  <c:v>2969.1119013750499</c:v>
                </c:pt>
                <c:pt idx="4966">
                  <c:v>2976.2349454717801</c:v>
                </c:pt>
                <c:pt idx="4967">
                  <c:v>2979.4419155998098</c:v>
                </c:pt>
                <c:pt idx="4968">
                  <c:v>2968.1699857752401</c:v>
                </c:pt>
                <c:pt idx="4969">
                  <c:v>2964.3866761498298</c:v>
                </c:pt>
                <c:pt idx="4970">
                  <c:v>2990.39568515884</c:v>
                </c:pt>
                <c:pt idx="4971">
                  <c:v>2976.4928876244599</c:v>
                </c:pt>
                <c:pt idx="4972">
                  <c:v>2976.99786628734</c:v>
                </c:pt>
                <c:pt idx="4973">
                  <c:v>2941.0725462304399</c:v>
                </c:pt>
                <c:pt idx="4974">
                  <c:v>2902.9103840682701</c:v>
                </c:pt>
                <c:pt idx="4975">
                  <c:v>2914</c:v>
                </c:pt>
                <c:pt idx="4976">
                  <c:v>2961.0011853959199</c:v>
                </c:pt>
                <c:pt idx="4977">
                  <c:v>2943.8378378378302</c:v>
                </c:pt>
                <c:pt idx="4978">
                  <c:v>2934.1306306306301</c:v>
                </c:pt>
                <c:pt idx="4979">
                  <c:v>2965.36913229018</c:v>
                </c:pt>
                <c:pt idx="4980">
                  <c:v>2978.5066382171599</c:v>
                </c:pt>
                <c:pt idx="4981">
                  <c:v>2990.0900900900901</c:v>
                </c:pt>
                <c:pt idx="4982">
                  <c:v>2976.06590801327</c:v>
                </c:pt>
                <c:pt idx="4983">
                  <c:v>2991.64248458985</c:v>
                </c:pt>
                <c:pt idx="4984">
                  <c:v>3029.72332859174</c:v>
                </c:pt>
                <c:pt idx="4985">
                  <c:v>3076.0417259364599</c:v>
                </c:pt>
                <c:pt idx="4986">
                  <c:v>3092.8376007586498</c:v>
                </c:pt>
                <c:pt idx="4987">
                  <c:v>3068.7866287339898</c:v>
                </c:pt>
                <c:pt idx="4988">
                  <c:v>3051.1728307254598</c:v>
                </c:pt>
                <c:pt idx="4989">
                  <c:v>3019.3221906116601</c:v>
                </c:pt>
                <c:pt idx="4990">
                  <c:v>3023.58084400189</c:v>
                </c:pt>
                <c:pt idx="4991">
                  <c:v>3011.2522522522499</c:v>
                </c:pt>
                <c:pt idx="4992">
                  <c:v>3053.4023233759999</c:v>
                </c:pt>
                <c:pt idx="4993">
                  <c:v>3080.0099573257398</c:v>
                </c:pt>
                <c:pt idx="4994">
                  <c:v>3057.9791370317598</c:v>
                </c:pt>
                <c:pt idx="4995">
                  <c:v>3055.8940256045498</c:v>
                </c:pt>
                <c:pt idx="4996">
                  <c:v>3057.1752015173001</c:v>
                </c:pt>
                <c:pt idx="4997">
                  <c:v>3019.6081081081002</c:v>
                </c:pt>
                <c:pt idx="4998">
                  <c:v>3040.9217638691298</c:v>
                </c:pt>
                <c:pt idx="4999">
                  <c:v>3067.2278330962499</c:v>
                </c:pt>
                <c:pt idx="5000">
                  <c:v>3032.4587482218999</c:v>
                </c:pt>
                <c:pt idx="5001">
                  <c:v>2976.8380749170201</c:v>
                </c:pt>
                <c:pt idx="5002">
                  <c:v>2961.8710289236601</c:v>
                </c:pt>
                <c:pt idx="5003">
                  <c:v>2990.0422000948302</c:v>
                </c:pt>
                <c:pt idx="5004">
                  <c:v>3010.3587008060599</c:v>
                </c:pt>
                <c:pt idx="5005">
                  <c:v>3034.4089615931698</c:v>
                </c:pt>
                <c:pt idx="5006">
                  <c:v>3026.7389758179202</c:v>
                </c:pt>
                <c:pt idx="5007">
                  <c:v>3031.6842105263099</c:v>
                </c:pt>
                <c:pt idx="5008">
                  <c:v>3036.55737316263</c:v>
                </c:pt>
                <c:pt idx="5009">
                  <c:v>3068.2171645329499</c:v>
                </c:pt>
                <c:pt idx="5010">
                  <c:v>3103.09459459459</c:v>
                </c:pt>
                <c:pt idx="5011">
                  <c:v>3087.8072546230401</c:v>
                </c:pt>
                <c:pt idx="5012">
                  <c:v>3092.6536273115198</c:v>
                </c:pt>
                <c:pt idx="5013">
                  <c:v>3100.8795637743001</c:v>
                </c:pt>
                <c:pt idx="5014">
                  <c:v>3051.2048364153602</c:v>
                </c:pt>
                <c:pt idx="5015">
                  <c:v>3045.49573257468</c:v>
                </c:pt>
                <c:pt idx="5016">
                  <c:v>3064.60312944523</c:v>
                </c:pt>
                <c:pt idx="5017">
                  <c:v>3085.70436225699</c:v>
                </c:pt>
                <c:pt idx="5018">
                  <c:v>3096.0535798956798</c:v>
                </c:pt>
                <c:pt idx="5019">
                  <c:v>3085.1612138454202</c:v>
                </c:pt>
                <c:pt idx="5020">
                  <c:v>3045.8428165007099</c:v>
                </c:pt>
                <c:pt idx="5021">
                  <c:v>3023.5874822190599</c:v>
                </c:pt>
                <c:pt idx="5022">
                  <c:v>3064.6792318634398</c:v>
                </c:pt>
                <c:pt idx="5023">
                  <c:v>3106.4108582266399</c:v>
                </c:pt>
                <c:pt idx="5024">
                  <c:v>3138.9973921289702</c:v>
                </c:pt>
                <c:pt idx="5025">
                  <c:v>3163.14461830251</c:v>
                </c:pt>
                <c:pt idx="5026">
                  <c:v>3149.7740635372202</c:v>
                </c:pt>
                <c:pt idx="5027">
                  <c:v>3133.2012802275899</c:v>
                </c:pt>
                <c:pt idx="5028">
                  <c:v>3151.6097676623899</c:v>
                </c:pt>
                <c:pt idx="5029">
                  <c:v>3131.10739687055</c:v>
                </c:pt>
                <c:pt idx="5030">
                  <c:v>3143.5614035087701</c:v>
                </c:pt>
                <c:pt idx="5031">
                  <c:v>3185.3067804646698</c:v>
                </c:pt>
                <c:pt idx="5032">
                  <c:v>3170.92437174016</c:v>
                </c:pt>
                <c:pt idx="5033">
                  <c:v>3148.3698435277302</c:v>
                </c:pt>
                <c:pt idx="5034">
                  <c:v>3170.8122332859102</c:v>
                </c:pt>
                <c:pt idx="5035">
                  <c:v>3205.7501185395899</c:v>
                </c:pt>
                <c:pt idx="5036">
                  <c:v>3216.20436225699</c:v>
                </c:pt>
                <c:pt idx="5037">
                  <c:v>3188.1759127548598</c:v>
                </c:pt>
                <c:pt idx="5038">
                  <c:v>3163.0469416785199</c:v>
                </c:pt>
                <c:pt idx="5039">
                  <c:v>3187.3124703651001</c:v>
                </c:pt>
                <c:pt idx="5040">
                  <c:v>3192.0922238027501</c:v>
                </c:pt>
                <c:pt idx="5041">
                  <c:v>3150.9248458985298</c:v>
                </c:pt>
                <c:pt idx="5042">
                  <c:v>3134.6204362256899</c:v>
                </c:pt>
                <c:pt idx="5043">
                  <c:v>3136.8006164058702</c:v>
                </c:pt>
                <c:pt idx="5044">
                  <c:v>3196.6512565196699</c:v>
                </c:pt>
                <c:pt idx="5045">
                  <c:v>3235.7709815078201</c:v>
                </c:pt>
                <c:pt idx="5046">
                  <c:v>3205.7550972024601</c:v>
                </c:pt>
                <c:pt idx="5047">
                  <c:v>3225.08084400189</c:v>
                </c:pt>
                <c:pt idx="5048">
                  <c:v>3258.8686581318102</c:v>
                </c:pt>
                <c:pt idx="5049">
                  <c:v>3282.9091986723502</c:v>
                </c:pt>
                <c:pt idx="5050">
                  <c:v>3280.2849691797001</c:v>
                </c:pt>
                <c:pt idx="5051">
                  <c:v>3255.17235656709</c:v>
                </c:pt>
                <c:pt idx="5052">
                  <c:v>3213.6493598861998</c:v>
                </c:pt>
                <c:pt idx="5053">
                  <c:v>3208.9909909909902</c:v>
                </c:pt>
                <c:pt idx="5054">
                  <c:v>3224.0490753911799</c:v>
                </c:pt>
                <c:pt idx="5055">
                  <c:v>3223.1204362256899</c:v>
                </c:pt>
                <c:pt idx="5056">
                  <c:v>3236.2889995258402</c:v>
                </c:pt>
                <c:pt idx="5057">
                  <c:v>3221.80962541488</c:v>
                </c:pt>
                <c:pt idx="5058">
                  <c:v>3207.82882882882</c:v>
                </c:pt>
                <c:pt idx="5059">
                  <c:v>3247.43622569938</c:v>
                </c:pt>
                <c:pt idx="5060">
                  <c:v>3310.64248458985</c:v>
                </c:pt>
                <c:pt idx="5061">
                  <c:v>3345.2550972024601</c:v>
                </c:pt>
                <c:pt idx="5062">
                  <c:v>3322.15955429113</c:v>
                </c:pt>
                <c:pt idx="5063">
                  <c:v>3347.4525841631098</c:v>
                </c:pt>
                <c:pt idx="5064">
                  <c:v>3287.3816974869601</c:v>
                </c:pt>
                <c:pt idx="5065">
                  <c:v>3221.1799431009899</c:v>
                </c:pt>
                <c:pt idx="5066">
                  <c:v>3192.6059743954402</c:v>
                </c:pt>
                <c:pt idx="5067">
                  <c:v>3196.8622569938302</c:v>
                </c:pt>
                <c:pt idx="5068">
                  <c:v>3259.2581792318601</c:v>
                </c:pt>
                <c:pt idx="5069">
                  <c:v>3268.4077761972399</c:v>
                </c:pt>
                <c:pt idx="5070">
                  <c:v>3288.2731152204801</c:v>
                </c:pt>
                <c:pt idx="5071">
                  <c:v>3274.5194404931199</c:v>
                </c:pt>
                <c:pt idx="5072">
                  <c:v>3273.18942626837</c:v>
                </c:pt>
                <c:pt idx="5073">
                  <c:v>3257.9115694642001</c:v>
                </c:pt>
                <c:pt idx="5074">
                  <c:v>3289.1666666666601</c:v>
                </c:pt>
                <c:pt idx="5075">
                  <c:v>3297.65955429113</c:v>
                </c:pt>
                <c:pt idx="5076">
                  <c:v>3268.1740161213802</c:v>
                </c:pt>
                <c:pt idx="5077">
                  <c:v>3293.9331436699799</c:v>
                </c:pt>
                <c:pt idx="5078">
                  <c:v>3306.49359886202</c:v>
                </c:pt>
                <c:pt idx="5079">
                  <c:v>3241.9639639639599</c:v>
                </c:pt>
                <c:pt idx="5080">
                  <c:v>3241.6955903271601</c:v>
                </c:pt>
                <c:pt idx="5081">
                  <c:v>3270.4732100521501</c:v>
                </c:pt>
                <c:pt idx="5082">
                  <c:v>3261.4950213371199</c:v>
                </c:pt>
                <c:pt idx="5083">
                  <c:v>3294.8221906116601</c:v>
                </c:pt>
                <c:pt idx="5084">
                  <c:v>3329.83499288762</c:v>
                </c:pt>
                <c:pt idx="5085">
                  <c:v>3328.6166429587402</c:v>
                </c:pt>
                <c:pt idx="5086">
                  <c:v>3340.3565670933999</c:v>
                </c:pt>
                <c:pt idx="5087">
                  <c:v>3299.7252252252201</c:v>
                </c:pt>
                <c:pt idx="5088">
                  <c:v>3285.1024182076799</c:v>
                </c:pt>
                <c:pt idx="5089">
                  <c:v>3304.4800853484999</c:v>
                </c:pt>
                <c:pt idx="5090">
                  <c:v>3318.5822664769998</c:v>
                </c:pt>
                <c:pt idx="5091">
                  <c:v>3342.6891891891801</c:v>
                </c:pt>
                <c:pt idx="5092">
                  <c:v>3360.2892366050201</c:v>
                </c:pt>
                <c:pt idx="5093">
                  <c:v>3352.9990516832599</c:v>
                </c:pt>
                <c:pt idx="5094">
                  <c:v>3355.7771455666102</c:v>
                </c:pt>
                <c:pt idx="5095">
                  <c:v>3380.1062114746301</c:v>
                </c:pt>
                <c:pt idx="5096">
                  <c:v>3388.40753911806</c:v>
                </c:pt>
                <c:pt idx="5097">
                  <c:v>3391.1469890943499</c:v>
                </c:pt>
                <c:pt idx="5098">
                  <c:v>3397.03935514461</c:v>
                </c:pt>
                <c:pt idx="5099">
                  <c:v>3412.3342816500699</c:v>
                </c:pt>
                <c:pt idx="5100">
                  <c:v>3380.6654812707402</c:v>
                </c:pt>
                <c:pt idx="5101">
                  <c:v>3349.55310573731</c:v>
                </c:pt>
                <c:pt idx="5102">
                  <c:v>3324.0310573731599</c:v>
                </c:pt>
                <c:pt idx="5103">
                  <c:v>3339.05737316263</c:v>
                </c:pt>
                <c:pt idx="5104">
                  <c:v>3375.5118539592199</c:v>
                </c:pt>
                <c:pt idx="5105">
                  <c:v>3358.8608345187199</c:v>
                </c:pt>
                <c:pt idx="5106">
                  <c:v>3370.60526315789</c:v>
                </c:pt>
                <c:pt idx="5107">
                  <c:v>3405.7622095779898</c:v>
                </c:pt>
                <c:pt idx="5108">
                  <c:v>3408.3651019440399</c:v>
                </c:pt>
                <c:pt idx="5109">
                  <c:v>3408.8876244665698</c:v>
                </c:pt>
                <c:pt idx="5110">
                  <c:v>3412.0419630156398</c:v>
                </c:pt>
                <c:pt idx="5111">
                  <c:v>3420.7283072546202</c:v>
                </c:pt>
                <c:pt idx="5112">
                  <c:v>3411.7176386913202</c:v>
                </c:pt>
                <c:pt idx="5113">
                  <c:v>3405.0232337600701</c:v>
                </c:pt>
                <c:pt idx="5114">
                  <c:v>3370.7916073968699</c:v>
                </c:pt>
                <c:pt idx="5115">
                  <c:v>3378.5320056899</c:v>
                </c:pt>
                <c:pt idx="5116">
                  <c:v>3406.15860597439</c:v>
                </c:pt>
                <c:pt idx="5117">
                  <c:v>3383.2252252252201</c:v>
                </c:pt>
                <c:pt idx="5118">
                  <c:v>3341.9620673304798</c:v>
                </c:pt>
                <c:pt idx="5119">
                  <c:v>3332.9433380749101</c:v>
                </c:pt>
                <c:pt idx="5120">
                  <c:v>3383.3980559506799</c:v>
                </c:pt>
                <c:pt idx="5121">
                  <c:v>3397.0417259364599</c:v>
                </c:pt>
                <c:pt idx="5122">
                  <c:v>3395.3226647700299</c:v>
                </c:pt>
                <c:pt idx="5123">
                  <c:v>3396.0844001896598</c:v>
                </c:pt>
                <c:pt idx="5124">
                  <c:v>3387.9568515884298</c:v>
                </c:pt>
                <c:pt idx="5125">
                  <c:v>3423.20104314841</c:v>
                </c:pt>
                <c:pt idx="5126">
                  <c:v>3438.83712660028</c:v>
                </c:pt>
                <c:pt idx="5127">
                  <c:v>3365.4513987671799</c:v>
                </c:pt>
                <c:pt idx="5128">
                  <c:v>3361.94476055002</c:v>
                </c:pt>
                <c:pt idx="5129">
                  <c:v>3380.8269321953499</c:v>
                </c:pt>
                <c:pt idx="5130">
                  <c:v>3408.3487434803201</c:v>
                </c:pt>
                <c:pt idx="5131">
                  <c:v>3443.6455666192501</c:v>
                </c:pt>
                <c:pt idx="5132">
                  <c:v>3419.93195827406</c:v>
                </c:pt>
                <c:pt idx="5133">
                  <c:v>3392.42342342342</c:v>
                </c:pt>
                <c:pt idx="5134">
                  <c:v>3383.8454243717401</c:v>
                </c:pt>
                <c:pt idx="5135">
                  <c:v>3393.6612138454202</c:v>
                </c:pt>
                <c:pt idx="5136">
                  <c:v>3392.2463252726402</c:v>
                </c:pt>
                <c:pt idx="5137">
                  <c:v>3404.6377430061598</c:v>
                </c:pt>
                <c:pt idx="5138">
                  <c:v>3437.1529160739601</c:v>
                </c:pt>
                <c:pt idx="5139">
                  <c:v>3467.18089141773</c:v>
                </c:pt>
                <c:pt idx="5140">
                  <c:v>3485.4665718349902</c:v>
                </c:pt>
                <c:pt idx="5141">
                  <c:v>3524.58819345661</c:v>
                </c:pt>
                <c:pt idx="5142">
                  <c:v>3532.5666192508202</c:v>
                </c:pt>
                <c:pt idx="5143">
                  <c:v>3506.5844001896598</c:v>
                </c:pt>
                <c:pt idx="5144">
                  <c:v>3524.2889995258402</c:v>
                </c:pt>
                <c:pt idx="5145">
                  <c:v>3568.2107633949699</c:v>
                </c:pt>
                <c:pt idx="5146">
                  <c:v>3605.1111901375002</c:v>
                </c:pt>
                <c:pt idx="5147">
                  <c:v>3621.3238501659498</c:v>
                </c:pt>
                <c:pt idx="5148">
                  <c:v>3621.0144618302502</c:v>
                </c:pt>
                <c:pt idx="5149">
                  <c:v>3632.9227121858698</c:v>
                </c:pt>
                <c:pt idx="5150">
                  <c:v>3628.3627311522</c:v>
                </c:pt>
                <c:pt idx="5151">
                  <c:v>3587.42010431484</c:v>
                </c:pt>
                <c:pt idx="5152">
                  <c:v>3511.49786628734</c:v>
                </c:pt>
                <c:pt idx="5153">
                  <c:v>3514.2261735419602</c:v>
                </c:pt>
                <c:pt idx="5154">
                  <c:v>3585.8762446657101</c:v>
                </c:pt>
                <c:pt idx="5155">
                  <c:v>3644.9364627785599</c:v>
                </c:pt>
                <c:pt idx="5156">
                  <c:v>3683.83712660028</c:v>
                </c:pt>
                <c:pt idx="5157">
                  <c:v>3668.0118539592199</c:v>
                </c:pt>
                <c:pt idx="5158">
                  <c:v>3626.3070175438502</c:v>
                </c:pt>
                <c:pt idx="5159">
                  <c:v>3584.9921763869102</c:v>
                </c:pt>
                <c:pt idx="5160">
                  <c:v>3590.7925557136</c:v>
                </c:pt>
                <c:pt idx="5161">
                  <c:v>3602.69037458511</c:v>
                </c:pt>
                <c:pt idx="5162">
                  <c:v>3636.7664770033098</c:v>
                </c:pt>
                <c:pt idx="5163">
                  <c:v>3711.7515410146898</c:v>
                </c:pt>
                <c:pt idx="5164">
                  <c:v>3746.45637743006</c:v>
                </c:pt>
                <c:pt idx="5165">
                  <c:v>3712.5611664295802</c:v>
                </c:pt>
                <c:pt idx="5166">
                  <c:v>3647.72024656235</c:v>
                </c:pt>
                <c:pt idx="5167">
                  <c:v>3544.2228544333798</c:v>
                </c:pt>
                <c:pt idx="5168">
                  <c:v>3448.6944049312401</c:v>
                </c:pt>
                <c:pt idx="5169">
                  <c:v>3383.50640113797</c:v>
                </c:pt>
                <c:pt idx="5170">
                  <c:v>3336.2515410146898</c:v>
                </c:pt>
                <c:pt idx="5171">
                  <c:v>3329.39900426742</c:v>
                </c:pt>
                <c:pt idx="5172">
                  <c:v>3317.39260312944</c:v>
                </c:pt>
                <c:pt idx="5173">
                  <c:v>3279.2228544333798</c:v>
                </c:pt>
                <c:pt idx="5174">
                  <c:v>3247.4668089141701</c:v>
                </c:pt>
                <c:pt idx="5175">
                  <c:v>3218.0284495021301</c:v>
                </c:pt>
                <c:pt idx="5176">
                  <c:v>3199.2411095305802</c:v>
                </c:pt>
                <c:pt idx="5177">
                  <c:v>3201.3980559506799</c:v>
                </c:pt>
                <c:pt idx="5178">
                  <c:v>3204.2079184447598</c:v>
                </c:pt>
                <c:pt idx="5179">
                  <c:v>3185.8482693219498</c:v>
                </c:pt>
                <c:pt idx="5180">
                  <c:v>3198.2569938359402</c:v>
                </c:pt>
                <c:pt idx="5181">
                  <c:v>3248.4746325272599</c:v>
                </c:pt>
                <c:pt idx="5182">
                  <c:v>3320.7930298719698</c:v>
                </c:pt>
                <c:pt idx="5183">
                  <c:v>3382.6017069701202</c:v>
                </c:pt>
                <c:pt idx="5184">
                  <c:v>3437.40967283072</c:v>
                </c:pt>
                <c:pt idx="5185">
                  <c:v>3490.99786628734</c:v>
                </c:pt>
                <c:pt idx="5186">
                  <c:v>3511.6749644381198</c:v>
                </c:pt>
                <c:pt idx="5187">
                  <c:v>3542.1014698909398</c:v>
                </c:pt>
                <c:pt idx="5188">
                  <c:v>3591.02228544333</c:v>
                </c:pt>
                <c:pt idx="5189">
                  <c:v>3645.2572309151201</c:v>
                </c:pt>
                <c:pt idx="5190">
                  <c:v>3678.7387387387298</c:v>
                </c:pt>
                <c:pt idx="5191">
                  <c:v>3674.7726410621099</c:v>
                </c:pt>
                <c:pt idx="5192">
                  <c:v>3650.7015173067798</c:v>
                </c:pt>
                <c:pt idx="5193">
                  <c:v>3609.4895685158799</c:v>
                </c:pt>
                <c:pt idx="5194">
                  <c:v>3513.3373636794599</c:v>
                </c:pt>
                <c:pt idx="5195">
                  <c:v>3298.6811284969099</c:v>
                </c:pt>
                <c:pt idx="5196">
                  <c:v>2967.7664770033098</c:v>
                </c:pt>
                <c:pt idx="5197">
                  <c:v>2677.11498340445</c:v>
                </c:pt>
                <c:pt idx="5198">
                  <c:v>2467.21384542437</c:v>
                </c:pt>
                <c:pt idx="5199">
                  <c:v>2263.8146040777601</c:v>
                </c:pt>
                <c:pt idx="5200">
                  <c:v>2075.97344713134</c:v>
                </c:pt>
                <c:pt idx="5201">
                  <c:v>1915.5232337600701</c:v>
                </c:pt>
                <c:pt idx="5202">
                  <c:v>1766.1977240398201</c:v>
                </c:pt>
                <c:pt idx="5203">
                  <c:v>1666.3928402086201</c:v>
                </c:pt>
                <c:pt idx="5204">
                  <c:v>1602.0896159317199</c:v>
                </c:pt>
                <c:pt idx="5205">
                  <c:v>1534.4933617828301</c:v>
                </c:pt>
                <c:pt idx="5206">
                  <c:v>1492.7671882408699</c:v>
                </c:pt>
                <c:pt idx="5207">
                  <c:v>1478.2008060692201</c:v>
                </c:pt>
                <c:pt idx="5208">
                  <c:v>1472.9886201991401</c:v>
                </c:pt>
                <c:pt idx="5209">
                  <c:v>1467.00806069227</c:v>
                </c:pt>
                <c:pt idx="5210">
                  <c:v>1454.2171645329499</c:v>
                </c:pt>
                <c:pt idx="5211">
                  <c:v>1448.54148885727</c:v>
                </c:pt>
                <c:pt idx="5212">
                  <c:v>1441.97771455666</c:v>
                </c:pt>
                <c:pt idx="5213">
                  <c:v>1430.3937885253599</c:v>
                </c:pt>
                <c:pt idx="5214">
                  <c:v>1425.3210052157399</c:v>
                </c:pt>
                <c:pt idx="5215">
                  <c:v>1424.81744902797</c:v>
                </c:pt>
                <c:pt idx="5216">
                  <c:v>1419.6325272641</c:v>
                </c:pt>
                <c:pt idx="5217">
                  <c:v>1413.66856330014</c:v>
                </c:pt>
                <c:pt idx="5218">
                  <c:v>1400.27453769559</c:v>
                </c:pt>
                <c:pt idx="5219">
                  <c:v>1385.91394025604</c:v>
                </c:pt>
                <c:pt idx="5220">
                  <c:v>1382.2700331910801</c:v>
                </c:pt>
                <c:pt idx="5221">
                  <c:v>1377.6322901849201</c:v>
                </c:pt>
                <c:pt idx="5222">
                  <c:v>1368.35633001422</c:v>
                </c:pt>
                <c:pt idx="5223">
                  <c:v>1361.1932195353199</c:v>
                </c:pt>
                <c:pt idx="5224">
                  <c:v>1349.75533428164</c:v>
                </c:pt>
                <c:pt idx="5225">
                  <c:v>1335.2444286391601</c:v>
                </c:pt>
                <c:pt idx="5226">
                  <c:v>1321.82029397818</c:v>
                </c:pt>
                <c:pt idx="5227">
                  <c:v>1310.1481744902701</c:v>
                </c:pt>
                <c:pt idx="5228">
                  <c:v>1298.4476055002301</c:v>
                </c:pt>
                <c:pt idx="5229">
                  <c:v>1284.32550972024</c:v>
                </c:pt>
                <c:pt idx="5230">
                  <c:v>1272.41394025604</c:v>
                </c:pt>
                <c:pt idx="5231">
                  <c:v>1262.7743006164001</c:v>
                </c:pt>
                <c:pt idx="5232">
                  <c:v>1249.2764343290601</c:v>
                </c:pt>
                <c:pt idx="5233">
                  <c:v>1233.4421526789899</c:v>
                </c:pt>
                <c:pt idx="5234">
                  <c:v>1218.4433380749099</c:v>
                </c:pt>
                <c:pt idx="5235">
                  <c:v>1206.2484589853</c:v>
                </c:pt>
                <c:pt idx="5236">
                  <c:v>1194.80156472261</c:v>
                </c:pt>
                <c:pt idx="5237">
                  <c:v>1181.70436225699</c:v>
                </c:pt>
                <c:pt idx="5238">
                  <c:v>1171.67283072546</c:v>
                </c:pt>
                <c:pt idx="5239">
                  <c:v>1159.82171645329</c:v>
                </c:pt>
                <c:pt idx="5240">
                  <c:v>1145.6910858226599</c:v>
                </c:pt>
                <c:pt idx="5241">
                  <c:v>1132.20365101944</c:v>
                </c:pt>
                <c:pt idx="5242">
                  <c:v>1118.76908487434</c:v>
                </c:pt>
                <c:pt idx="5243">
                  <c:v>1102.7764343290601</c:v>
                </c:pt>
                <c:pt idx="5244">
                  <c:v>1086.22878141299</c:v>
                </c:pt>
                <c:pt idx="5245">
                  <c:v>1071.62873399715</c:v>
                </c:pt>
                <c:pt idx="5246">
                  <c:v>1057.52821242294</c:v>
                </c:pt>
                <c:pt idx="5247">
                  <c:v>1044.51801801801</c:v>
                </c:pt>
                <c:pt idx="5248">
                  <c:v>1033.7650545282099</c:v>
                </c:pt>
                <c:pt idx="5249">
                  <c:v>1023.55713608345</c:v>
                </c:pt>
                <c:pt idx="5250">
                  <c:v>1013.32266477003</c:v>
                </c:pt>
                <c:pt idx="5251">
                  <c:v>1002.78141299193</c:v>
                </c:pt>
                <c:pt idx="5252">
                  <c:v>993.40256045519197</c:v>
                </c:pt>
                <c:pt idx="5253">
                  <c:v>980.970839260312</c:v>
                </c:pt>
                <c:pt idx="5254">
                  <c:v>967.78733997154995</c:v>
                </c:pt>
                <c:pt idx="5255">
                  <c:v>952.36652441915601</c:v>
                </c:pt>
                <c:pt idx="5256">
                  <c:v>934.50355618776598</c:v>
                </c:pt>
                <c:pt idx="5257">
                  <c:v>916.58155523944902</c:v>
                </c:pt>
                <c:pt idx="5258">
                  <c:v>902.45969653864302</c:v>
                </c:pt>
                <c:pt idx="5259">
                  <c:v>887.83902323376003</c:v>
                </c:pt>
                <c:pt idx="5260">
                  <c:v>876.00497866287299</c:v>
                </c:pt>
                <c:pt idx="5261">
                  <c:v>866.71076339497301</c:v>
                </c:pt>
                <c:pt idx="5262">
                  <c:v>856.12280701754298</c:v>
                </c:pt>
                <c:pt idx="5263">
                  <c:v>844.80227596017005</c:v>
                </c:pt>
                <c:pt idx="5264">
                  <c:v>830.91228070175396</c:v>
                </c:pt>
                <c:pt idx="5265">
                  <c:v>816.03651019440395</c:v>
                </c:pt>
                <c:pt idx="5266">
                  <c:v>800.492176386913</c:v>
                </c:pt>
                <c:pt idx="5267">
                  <c:v>783.72166903745801</c:v>
                </c:pt>
                <c:pt idx="5268">
                  <c:v>769.76481744902696</c:v>
                </c:pt>
                <c:pt idx="5269">
                  <c:v>757.372451398767</c:v>
                </c:pt>
                <c:pt idx="5270">
                  <c:v>744.02015173067798</c:v>
                </c:pt>
                <c:pt idx="5271">
                  <c:v>730.34613560929301</c:v>
                </c:pt>
                <c:pt idx="5272">
                  <c:v>717.735893788525</c:v>
                </c:pt>
                <c:pt idx="5273">
                  <c:v>704.75011853959199</c:v>
                </c:pt>
                <c:pt idx="5274">
                  <c:v>690.993835941204</c:v>
                </c:pt>
                <c:pt idx="5275">
                  <c:v>677.18990042674204</c:v>
                </c:pt>
                <c:pt idx="5276">
                  <c:v>663.990042674253</c:v>
                </c:pt>
                <c:pt idx="5277">
                  <c:v>651.12920815552297</c:v>
                </c:pt>
                <c:pt idx="5278">
                  <c:v>638.24679943101</c:v>
                </c:pt>
                <c:pt idx="5279">
                  <c:v>624.78805120910295</c:v>
                </c:pt>
                <c:pt idx="5280">
                  <c:v>612.38715030820197</c:v>
                </c:pt>
                <c:pt idx="5281">
                  <c:v>600.16121384542396</c:v>
                </c:pt>
                <c:pt idx="5282">
                  <c:v>586.63679468942598</c:v>
                </c:pt>
                <c:pt idx="5283">
                  <c:v>574.04006638217095</c:v>
                </c:pt>
                <c:pt idx="5284">
                  <c:v>561.69132290184905</c:v>
                </c:pt>
                <c:pt idx="5285">
                  <c:v>548.57088667614903</c:v>
                </c:pt>
                <c:pt idx="5286">
                  <c:v>534.97747747747701</c:v>
                </c:pt>
                <c:pt idx="5287">
                  <c:v>521.69843527738203</c:v>
                </c:pt>
                <c:pt idx="5288">
                  <c:v>509.63869132290102</c:v>
                </c:pt>
                <c:pt idx="5289">
                  <c:v>497.68349928876199</c:v>
                </c:pt>
                <c:pt idx="5290">
                  <c:v>485.64770033191002</c:v>
                </c:pt>
                <c:pt idx="5291">
                  <c:v>473.558321479374</c:v>
                </c:pt>
                <c:pt idx="5292">
                  <c:v>461.183262209578</c:v>
                </c:pt>
                <c:pt idx="5293">
                  <c:v>449.799431009957</c:v>
                </c:pt>
                <c:pt idx="5294">
                  <c:v>438.08013276434298</c:v>
                </c:pt>
                <c:pt idx="5295">
                  <c:v>425.87861545756198</c:v>
                </c:pt>
                <c:pt idx="5296">
                  <c:v>413.367709815078</c:v>
                </c:pt>
                <c:pt idx="5297">
                  <c:v>401.28165007112301</c:v>
                </c:pt>
                <c:pt idx="5298">
                  <c:v>390.16548127074401</c:v>
                </c:pt>
                <c:pt idx="5299">
                  <c:v>378.70270270270203</c:v>
                </c:pt>
                <c:pt idx="5300">
                  <c:v>367.81863442389698</c:v>
                </c:pt>
                <c:pt idx="5301">
                  <c:v>358.21906116642901</c:v>
                </c:pt>
                <c:pt idx="5302">
                  <c:v>348.44144144144099</c:v>
                </c:pt>
                <c:pt idx="5303">
                  <c:v>339.30915125651899</c:v>
                </c:pt>
                <c:pt idx="5304">
                  <c:v>329.93575154101399</c:v>
                </c:pt>
                <c:pt idx="5305">
                  <c:v>320.11356092935</c:v>
                </c:pt>
                <c:pt idx="5306">
                  <c:v>311.09862494073002</c:v>
                </c:pt>
                <c:pt idx="5307">
                  <c:v>302.62422949264999</c:v>
                </c:pt>
                <c:pt idx="5308">
                  <c:v>293.38715030820202</c:v>
                </c:pt>
                <c:pt idx="5309">
                  <c:v>284.38477951635798</c:v>
                </c:pt>
                <c:pt idx="5310">
                  <c:v>275.34495021337102</c:v>
                </c:pt>
                <c:pt idx="5311">
                  <c:v>266.77192982456103</c:v>
                </c:pt>
                <c:pt idx="5312">
                  <c:v>258.612612612612</c:v>
                </c:pt>
                <c:pt idx="5313">
                  <c:v>250.93954480796501</c:v>
                </c:pt>
                <c:pt idx="5314">
                  <c:v>242.91275486012299</c:v>
                </c:pt>
                <c:pt idx="5315">
                  <c:v>234.50118539592199</c:v>
                </c:pt>
                <c:pt idx="5316">
                  <c:v>227.335467045993</c:v>
                </c:pt>
                <c:pt idx="5317">
                  <c:v>219.931721194879</c:v>
                </c:pt>
                <c:pt idx="5318">
                  <c:v>212.68610715979099</c:v>
                </c:pt>
                <c:pt idx="5319">
                  <c:v>204.509957325746</c:v>
                </c:pt>
                <c:pt idx="5320">
                  <c:v>196.93361782835399</c:v>
                </c:pt>
                <c:pt idx="5321">
                  <c:v>190.03722143195799</c:v>
                </c:pt>
                <c:pt idx="5322">
                  <c:v>182.728781412991</c:v>
                </c:pt>
                <c:pt idx="5323">
                  <c:v>176.22214319582699</c:v>
                </c:pt>
                <c:pt idx="5324">
                  <c:v>169.98980559506799</c:v>
                </c:pt>
                <c:pt idx="5325">
                  <c:v>163.70246562351801</c:v>
                </c:pt>
                <c:pt idx="5326">
                  <c:v>158.71811284969101</c:v>
                </c:pt>
                <c:pt idx="5327">
                  <c:v>152.87102892365999</c:v>
                </c:pt>
                <c:pt idx="5328">
                  <c:v>146.984352773826</c:v>
                </c:pt>
                <c:pt idx="5329">
                  <c:v>141.89189189189099</c:v>
                </c:pt>
                <c:pt idx="5330">
                  <c:v>136.32385016595501</c:v>
                </c:pt>
                <c:pt idx="5331">
                  <c:v>130.97629208155499</c:v>
                </c:pt>
                <c:pt idx="5332">
                  <c:v>126.317923186344</c:v>
                </c:pt>
                <c:pt idx="5333">
                  <c:v>121.45874822190601</c:v>
                </c:pt>
                <c:pt idx="5334">
                  <c:v>116.760787102892</c:v>
                </c:pt>
                <c:pt idx="5335">
                  <c:v>112.211474632527</c:v>
                </c:pt>
                <c:pt idx="5336">
                  <c:v>107.15623518255001</c:v>
                </c:pt>
                <c:pt idx="5337">
                  <c:v>101.863679468942</c:v>
                </c:pt>
                <c:pt idx="5338">
                  <c:v>96.809625414888501</c:v>
                </c:pt>
                <c:pt idx="5339">
                  <c:v>92.623992413465999</c:v>
                </c:pt>
                <c:pt idx="5340">
                  <c:v>88.384068278805103</c:v>
                </c:pt>
                <c:pt idx="5341">
                  <c:v>84.341868183973403</c:v>
                </c:pt>
                <c:pt idx="5342">
                  <c:v>79.226173541963007</c:v>
                </c:pt>
                <c:pt idx="5343">
                  <c:v>74.185633001422403</c:v>
                </c:pt>
                <c:pt idx="5344">
                  <c:v>70.590564248458904</c:v>
                </c:pt>
                <c:pt idx="5345">
                  <c:v>67.015173067804596</c:v>
                </c:pt>
                <c:pt idx="5346">
                  <c:v>63.291607396870504</c:v>
                </c:pt>
                <c:pt idx="5347">
                  <c:v>59.605974395448001</c:v>
                </c:pt>
                <c:pt idx="5348">
                  <c:v>55.681365576102401</c:v>
                </c:pt>
                <c:pt idx="5349">
                  <c:v>51.977240398292999</c:v>
                </c:pt>
                <c:pt idx="5350">
                  <c:v>48.731152204836398</c:v>
                </c:pt>
                <c:pt idx="5351">
                  <c:v>45.869843527738198</c:v>
                </c:pt>
                <c:pt idx="5352">
                  <c:v>43.7631578947368</c:v>
                </c:pt>
                <c:pt idx="5353">
                  <c:v>41.761498340445698</c:v>
                </c:pt>
                <c:pt idx="5354">
                  <c:v>39.173067804646699</c:v>
                </c:pt>
                <c:pt idx="5355">
                  <c:v>36.418444760550003</c:v>
                </c:pt>
                <c:pt idx="5356">
                  <c:v>34.394262683736301</c:v>
                </c:pt>
                <c:pt idx="5357">
                  <c:v>32.897107633949702</c:v>
                </c:pt>
                <c:pt idx="5358">
                  <c:v>31.217401612138399</c:v>
                </c:pt>
                <c:pt idx="5359">
                  <c:v>29.711474632527199</c:v>
                </c:pt>
                <c:pt idx="5360">
                  <c:v>28.5640113798008</c:v>
                </c:pt>
                <c:pt idx="5361">
                  <c:v>27.318871503082001</c:v>
                </c:pt>
                <c:pt idx="5362">
                  <c:v>25.555713608345101</c:v>
                </c:pt>
                <c:pt idx="5363">
                  <c:v>24.527501185395899</c:v>
                </c:pt>
                <c:pt idx="5364">
                  <c:v>23.828117591275401</c:v>
                </c:pt>
                <c:pt idx="5365">
                  <c:v>23.056424845898501</c:v>
                </c:pt>
                <c:pt idx="5366">
                  <c:v>22.519677572309099</c:v>
                </c:pt>
                <c:pt idx="5367">
                  <c:v>22.463015647226101</c:v>
                </c:pt>
                <c:pt idx="5368">
                  <c:v>22.2081555239449</c:v>
                </c:pt>
                <c:pt idx="5369">
                  <c:v>21.641773352299602</c:v>
                </c:pt>
                <c:pt idx="5370">
                  <c:v>21.014935988620099</c:v>
                </c:pt>
                <c:pt idx="5371">
                  <c:v>20.457325746799398</c:v>
                </c:pt>
                <c:pt idx="5372">
                  <c:v>19.7797534376481</c:v>
                </c:pt>
                <c:pt idx="5373">
                  <c:v>18.9331436699857</c:v>
                </c:pt>
                <c:pt idx="5374">
                  <c:v>18.3333333333333</c:v>
                </c:pt>
                <c:pt idx="5375">
                  <c:v>18.0192034139402</c:v>
                </c:pt>
                <c:pt idx="5376">
                  <c:v>17.844001896633401</c:v>
                </c:pt>
                <c:pt idx="5377">
                  <c:v>17.6455666192508</c:v>
                </c:pt>
                <c:pt idx="5378">
                  <c:v>17.235893788525299</c:v>
                </c:pt>
                <c:pt idx="5379">
                  <c:v>16.8466097676624</c:v>
                </c:pt>
                <c:pt idx="5380">
                  <c:v>16.697961119013701</c:v>
                </c:pt>
                <c:pt idx="5381">
                  <c:v>16.584163110478901</c:v>
                </c:pt>
                <c:pt idx="5382">
                  <c:v>16.728307254623001</c:v>
                </c:pt>
                <c:pt idx="5383">
                  <c:v>16.658368895211002</c:v>
                </c:pt>
                <c:pt idx="5384">
                  <c:v>16.303935514461799</c:v>
                </c:pt>
                <c:pt idx="5385">
                  <c:v>16.0931721194879</c:v>
                </c:pt>
                <c:pt idx="5386">
                  <c:v>15.9957325746799</c:v>
                </c:pt>
                <c:pt idx="5387">
                  <c:v>16.280938833570399</c:v>
                </c:pt>
                <c:pt idx="5388">
                  <c:v>16.566382171645301</c:v>
                </c:pt>
                <c:pt idx="5389">
                  <c:v>16.3160265528686</c:v>
                </c:pt>
                <c:pt idx="5390">
                  <c:v>15.8800379326695</c:v>
                </c:pt>
                <c:pt idx="5391">
                  <c:v>15.3307254623044</c:v>
                </c:pt>
                <c:pt idx="5392">
                  <c:v>14.970602181128401</c:v>
                </c:pt>
                <c:pt idx="5393">
                  <c:v>14.880512091038399</c:v>
                </c:pt>
                <c:pt idx="5394">
                  <c:v>14.6576576576576</c:v>
                </c:pt>
                <c:pt idx="5395">
                  <c:v>14.721431958274</c:v>
                </c:pt>
                <c:pt idx="5396">
                  <c:v>14.9063537221431</c:v>
                </c:pt>
                <c:pt idx="5397">
                  <c:v>15.300853485064</c:v>
                </c:pt>
                <c:pt idx="5398">
                  <c:v>15.7446657183499</c:v>
                </c:pt>
                <c:pt idx="5399">
                  <c:v>16.0026078710289</c:v>
                </c:pt>
                <c:pt idx="5400">
                  <c:v>15.885016595542901</c:v>
                </c:pt>
                <c:pt idx="5401">
                  <c:v>15.9516358463726</c:v>
                </c:pt>
                <c:pt idx="5402">
                  <c:v>16.2117117117117</c:v>
                </c:pt>
                <c:pt idx="5403">
                  <c:v>16.1183025130393</c:v>
                </c:pt>
                <c:pt idx="5404">
                  <c:v>15.715742057847301</c:v>
                </c:pt>
                <c:pt idx="5405">
                  <c:v>15.334755808440001</c:v>
                </c:pt>
                <c:pt idx="5406">
                  <c:v>15.233285917496399</c:v>
                </c:pt>
                <c:pt idx="5407">
                  <c:v>15.233285917496399</c:v>
                </c:pt>
                <c:pt idx="5408">
                  <c:v>15.147937411095301</c:v>
                </c:pt>
                <c:pt idx="5409">
                  <c:v>15.3074917022285</c:v>
                </c:pt>
                <c:pt idx="5410">
                  <c:v>15.7449027975343</c:v>
                </c:pt>
                <c:pt idx="5411">
                  <c:v>15.6405879563774</c:v>
                </c:pt>
                <c:pt idx="5412">
                  <c:v>14.9366998577524</c:v>
                </c:pt>
                <c:pt idx="5413">
                  <c:v>14.540540540540499</c:v>
                </c:pt>
                <c:pt idx="5414">
                  <c:v>14.8520625889046</c:v>
                </c:pt>
                <c:pt idx="5415">
                  <c:v>15.1699857752489</c:v>
                </c:pt>
                <c:pt idx="5416">
                  <c:v>15.0531057373162</c:v>
                </c:pt>
                <c:pt idx="5417">
                  <c:v>14.746799431009901</c:v>
                </c:pt>
                <c:pt idx="5418">
                  <c:v>14.9715504978662</c:v>
                </c:pt>
                <c:pt idx="5419">
                  <c:v>15.852773826458</c:v>
                </c:pt>
                <c:pt idx="5420">
                  <c:v>16.5448079658605</c:v>
                </c:pt>
                <c:pt idx="5421">
                  <c:v>16.223565670934001</c:v>
                </c:pt>
                <c:pt idx="5422">
                  <c:v>15.237553342816501</c:v>
                </c:pt>
                <c:pt idx="5423">
                  <c:v>14.6273115220483</c:v>
                </c:pt>
                <c:pt idx="5424">
                  <c:v>15.068278805120899</c:v>
                </c:pt>
                <c:pt idx="5425">
                  <c:v>15.9220009483167</c:v>
                </c:pt>
                <c:pt idx="5426">
                  <c:v>16.003082029397799</c:v>
                </c:pt>
                <c:pt idx="5427">
                  <c:v>15.610715979137</c:v>
                </c:pt>
                <c:pt idx="5428">
                  <c:v>15.615457562825901</c:v>
                </c:pt>
                <c:pt idx="5429">
                  <c:v>16.034850640113699</c:v>
                </c:pt>
                <c:pt idx="5430">
                  <c:v>16.203176861071501</c:v>
                </c:pt>
                <c:pt idx="5431">
                  <c:v>15.9857752489331</c:v>
                </c:pt>
                <c:pt idx="5432">
                  <c:v>15.9826932195353</c:v>
                </c:pt>
                <c:pt idx="5433">
                  <c:v>15.8835941204362</c:v>
                </c:pt>
                <c:pt idx="5434">
                  <c:v>15.4404931247036</c:v>
                </c:pt>
                <c:pt idx="5435">
                  <c:v>14.9229492650545</c:v>
                </c:pt>
                <c:pt idx="5436">
                  <c:v>14.567567567567499</c:v>
                </c:pt>
                <c:pt idx="5437">
                  <c:v>14.8041725936462</c:v>
                </c:pt>
                <c:pt idx="5438">
                  <c:v>15.571834992887601</c:v>
                </c:pt>
                <c:pt idx="5439">
                  <c:v>15.570886676149801</c:v>
                </c:pt>
                <c:pt idx="5440">
                  <c:v>14.7110004741583</c:v>
                </c:pt>
                <c:pt idx="5441">
                  <c:v>13.998103366524401</c:v>
                </c:pt>
                <c:pt idx="5442">
                  <c:v>14.1493598862019</c:v>
                </c:pt>
                <c:pt idx="5443">
                  <c:v>14.575154101469799</c:v>
                </c:pt>
                <c:pt idx="5444">
                  <c:v>14.8717401612138</c:v>
                </c:pt>
                <c:pt idx="5445">
                  <c:v>15.291844476054999</c:v>
                </c:pt>
                <c:pt idx="5446">
                  <c:v>15.404931247036499</c:v>
                </c:pt>
                <c:pt idx="5447">
                  <c:v>15.437648174490199</c:v>
                </c:pt>
                <c:pt idx="5448">
                  <c:v>15.3677098150782</c:v>
                </c:pt>
                <c:pt idx="5449">
                  <c:v>15.549075391180599</c:v>
                </c:pt>
                <c:pt idx="5450">
                  <c:v>15.627785680417199</c:v>
                </c:pt>
                <c:pt idx="5451">
                  <c:v>15.272641062114699</c:v>
                </c:pt>
                <c:pt idx="5452">
                  <c:v>15.0938833570412</c:v>
                </c:pt>
                <c:pt idx="5453">
                  <c:v>14.841631104789</c:v>
                </c:pt>
                <c:pt idx="5454">
                  <c:v>14.743480322427599</c:v>
                </c:pt>
                <c:pt idx="5455">
                  <c:v>15.188952110004699</c:v>
                </c:pt>
                <c:pt idx="5456">
                  <c:v>15.8402086296823</c:v>
                </c:pt>
                <c:pt idx="5457">
                  <c:v>16.076339497392102</c:v>
                </c:pt>
                <c:pt idx="5458">
                  <c:v>15.4698909435751</c:v>
                </c:pt>
                <c:pt idx="5459">
                  <c:v>14.749170222854399</c:v>
                </c:pt>
                <c:pt idx="5460">
                  <c:v>14.5865339023233</c:v>
                </c:pt>
                <c:pt idx="5461">
                  <c:v>14.414177335229899</c:v>
                </c:pt>
                <c:pt idx="5462">
                  <c:v>14.121147463252701</c:v>
                </c:pt>
                <c:pt idx="5463">
                  <c:v>14.2254623044096</c:v>
                </c:pt>
                <c:pt idx="5464">
                  <c:v>14.922712185869999</c:v>
                </c:pt>
                <c:pt idx="5465">
                  <c:v>15.3200568990042</c:v>
                </c:pt>
                <c:pt idx="5466">
                  <c:v>15.255334281650001</c:v>
                </c:pt>
                <c:pt idx="5467">
                  <c:v>14.8551446183025</c:v>
                </c:pt>
                <c:pt idx="5468">
                  <c:v>14.517306780464599</c:v>
                </c:pt>
                <c:pt idx="5469">
                  <c:v>14.467757230915099</c:v>
                </c:pt>
                <c:pt idx="5470">
                  <c:v>15.0647226173541</c:v>
                </c:pt>
                <c:pt idx="5471">
                  <c:v>15.7930298719772</c:v>
                </c:pt>
                <c:pt idx="5472">
                  <c:v>15.982219061166401</c:v>
                </c:pt>
                <c:pt idx="5473">
                  <c:v>15.679706021811199</c:v>
                </c:pt>
                <c:pt idx="5474">
                  <c:v>15.2721669037458</c:v>
                </c:pt>
                <c:pt idx="5475">
                  <c:v>14.816263632053101</c:v>
                </c:pt>
                <c:pt idx="5476">
                  <c:v>14.7707444286391</c:v>
                </c:pt>
                <c:pt idx="5477">
                  <c:v>15.4596965386439</c:v>
                </c:pt>
                <c:pt idx="5478">
                  <c:v>15.8027501185395</c:v>
                </c:pt>
                <c:pt idx="5479">
                  <c:v>15.3247984826932</c:v>
                </c:pt>
                <c:pt idx="5480">
                  <c:v>14.685633001422399</c:v>
                </c:pt>
                <c:pt idx="5481">
                  <c:v>14.6130867709815</c:v>
                </c:pt>
                <c:pt idx="5482">
                  <c:v>14.674016121384501</c:v>
                </c:pt>
                <c:pt idx="5483">
                  <c:v>14.8399715504978</c:v>
                </c:pt>
                <c:pt idx="5484">
                  <c:v>15.275011853959199</c:v>
                </c:pt>
                <c:pt idx="5485">
                  <c:v>16.010668563300101</c:v>
                </c:pt>
                <c:pt idx="5486">
                  <c:v>16.678520625889</c:v>
                </c:pt>
                <c:pt idx="5487">
                  <c:v>16.935988620199101</c:v>
                </c:pt>
                <c:pt idx="5488">
                  <c:v>16.386676149833999</c:v>
                </c:pt>
                <c:pt idx="5489">
                  <c:v>15.5585585585585</c:v>
                </c:pt>
                <c:pt idx="5490">
                  <c:v>15.033902323375999</c:v>
                </c:pt>
                <c:pt idx="5491">
                  <c:v>15.2773826458036</c:v>
                </c:pt>
                <c:pt idx="5492">
                  <c:v>15.7965860597439</c:v>
                </c:pt>
                <c:pt idx="5493">
                  <c:v>16.179468942626801</c:v>
                </c:pt>
                <c:pt idx="5494">
                  <c:v>16.1507823613086</c:v>
                </c:pt>
                <c:pt idx="5495">
                  <c:v>15.675438596491199</c:v>
                </c:pt>
                <c:pt idx="5496">
                  <c:v>15.3134186818397</c:v>
                </c:pt>
                <c:pt idx="5497">
                  <c:v>15.3821716453295</c:v>
                </c:pt>
                <c:pt idx="5498">
                  <c:v>15.2790422000948</c:v>
                </c:pt>
                <c:pt idx="5499">
                  <c:v>15.2131341868183</c:v>
                </c:pt>
                <c:pt idx="5500">
                  <c:v>15.3110478899952</c:v>
                </c:pt>
                <c:pt idx="5501">
                  <c:v>15.254385964912199</c:v>
                </c:pt>
                <c:pt idx="5502">
                  <c:v>15.380512091038399</c:v>
                </c:pt>
                <c:pt idx="5503">
                  <c:v>15.934329065908001</c:v>
                </c:pt>
                <c:pt idx="5504">
                  <c:v>16.4708392603129</c:v>
                </c:pt>
                <c:pt idx="5505">
                  <c:v>16.431721194879</c:v>
                </c:pt>
                <c:pt idx="5506">
                  <c:v>16.402560455191999</c:v>
                </c:pt>
                <c:pt idx="5507">
                  <c:v>16.586059743954401</c:v>
                </c:pt>
                <c:pt idx="5508">
                  <c:v>16.451161688003701</c:v>
                </c:pt>
                <c:pt idx="5509">
                  <c:v>15.770270270270199</c:v>
                </c:pt>
                <c:pt idx="5510">
                  <c:v>15.599099099099</c:v>
                </c:pt>
                <c:pt idx="5511">
                  <c:v>15.8760075865339</c:v>
                </c:pt>
                <c:pt idx="5512">
                  <c:v>15.894262683736301</c:v>
                </c:pt>
                <c:pt idx="5513">
                  <c:v>15.611190137505901</c:v>
                </c:pt>
                <c:pt idx="5514">
                  <c:v>15.5445708866761</c:v>
                </c:pt>
                <c:pt idx="5515">
                  <c:v>15.789710763394901</c:v>
                </c:pt>
                <c:pt idx="5516">
                  <c:v>15.9153627311522</c:v>
                </c:pt>
                <c:pt idx="5517">
                  <c:v>15.8165007112375</c:v>
                </c:pt>
                <c:pt idx="5518">
                  <c:v>15.648885727832999</c:v>
                </c:pt>
                <c:pt idx="5519">
                  <c:v>15.525604551920299</c:v>
                </c:pt>
                <c:pt idx="5520">
                  <c:v>15.492887624466499</c:v>
                </c:pt>
                <c:pt idx="5521">
                  <c:v>15.5521574205784</c:v>
                </c:pt>
                <c:pt idx="5522">
                  <c:v>15.3136557610241</c:v>
                </c:pt>
                <c:pt idx="5523">
                  <c:v>15.1325272641062</c:v>
                </c:pt>
                <c:pt idx="5524">
                  <c:v>15.2228544333807</c:v>
                </c:pt>
                <c:pt idx="5525">
                  <c:v>15.5040303461356</c:v>
                </c:pt>
                <c:pt idx="5526">
                  <c:v>15.531768610715901</c:v>
                </c:pt>
                <c:pt idx="5527">
                  <c:v>15.576813655761001</c:v>
                </c:pt>
                <c:pt idx="5528">
                  <c:v>15.7136083451872</c:v>
                </c:pt>
                <c:pt idx="5529">
                  <c:v>15.816737790422</c:v>
                </c:pt>
                <c:pt idx="5530">
                  <c:v>15.800379326695101</c:v>
                </c:pt>
                <c:pt idx="5531">
                  <c:v>15.925320056899</c:v>
                </c:pt>
                <c:pt idx="5532">
                  <c:v>15.961356092935</c:v>
                </c:pt>
                <c:pt idx="5533">
                  <c:v>15.6408250355618</c:v>
                </c:pt>
                <c:pt idx="5534">
                  <c:v>15.246799431009901</c:v>
                </c:pt>
                <c:pt idx="5535">
                  <c:v>14.9957325746799</c:v>
                </c:pt>
                <c:pt idx="5536">
                  <c:v>14.9170222854433</c:v>
                </c:pt>
                <c:pt idx="5537">
                  <c:v>14.7226173541963</c:v>
                </c:pt>
                <c:pt idx="5538">
                  <c:v>14.5680417259364</c:v>
                </c:pt>
                <c:pt idx="5539">
                  <c:v>14.661925082977699</c:v>
                </c:pt>
                <c:pt idx="5540">
                  <c:v>15.304409672830699</c:v>
                </c:pt>
                <c:pt idx="5541">
                  <c:v>15.978662873399699</c:v>
                </c:pt>
                <c:pt idx="5542">
                  <c:v>16.2387387387387</c:v>
                </c:pt>
                <c:pt idx="5543">
                  <c:v>16.217164532954001</c:v>
                </c:pt>
                <c:pt idx="5544">
                  <c:v>16.152916073968701</c:v>
                </c:pt>
                <c:pt idx="5545">
                  <c:v>15.939544807965801</c:v>
                </c:pt>
                <c:pt idx="5546">
                  <c:v>15.9449976292081</c:v>
                </c:pt>
                <c:pt idx="5547">
                  <c:v>16.066619250829699</c:v>
                </c:pt>
                <c:pt idx="5548">
                  <c:v>15.968705547652901</c:v>
                </c:pt>
                <c:pt idx="5549">
                  <c:v>15.683025130393499</c:v>
                </c:pt>
                <c:pt idx="5550">
                  <c:v>15.3084400189663</c:v>
                </c:pt>
                <c:pt idx="5551">
                  <c:v>15.1130867709815</c:v>
                </c:pt>
                <c:pt idx="5552">
                  <c:v>15.3859649122807</c:v>
                </c:pt>
                <c:pt idx="5553">
                  <c:v>15.859649122806999</c:v>
                </c:pt>
                <c:pt idx="5554">
                  <c:v>15.8928402086296</c:v>
                </c:pt>
                <c:pt idx="5555">
                  <c:v>15.4305357989568</c:v>
                </c:pt>
                <c:pt idx="5556">
                  <c:v>14.9196301564722</c:v>
                </c:pt>
                <c:pt idx="5557">
                  <c:v>14.990516832621999</c:v>
                </c:pt>
                <c:pt idx="5558">
                  <c:v>15.372451398767099</c:v>
                </c:pt>
                <c:pt idx="5559">
                  <c:v>15.846372688477899</c:v>
                </c:pt>
                <c:pt idx="5560">
                  <c:v>16.160739687055401</c:v>
                </c:pt>
                <c:pt idx="5561">
                  <c:v>16.5144618302513</c:v>
                </c:pt>
                <c:pt idx="5562">
                  <c:v>16.5595068752963</c:v>
                </c:pt>
                <c:pt idx="5563">
                  <c:v>16.147226173541899</c:v>
                </c:pt>
                <c:pt idx="5564">
                  <c:v>15.482930298719699</c:v>
                </c:pt>
                <c:pt idx="5565">
                  <c:v>15.220009483167299</c:v>
                </c:pt>
                <c:pt idx="5566">
                  <c:v>15.5092460881934</c:v>
                </c:pt>
                <c:pt idx="5567">
                  <c:v>15.9146514935988</c:v>
                </c:pt>
                <c:pt idx="5568">
                  <c:v>16.1526789947842</c:v>
                </c:pt>
                <c:pt idx="5569">
                  <c:v>16.0898530109056</c:v>
                </c:pt>
                <c:pt idx="5570">
                  <c:v>15.454480796585999</c:v>
                </c:pt>
                <c:pt idx="5571">
                  <c:v>14.9144144144144</c:v>
                </c:pt>
                <c:pt idx="5572">
                  <c:v>14.952821242294901</c:v>
                </c:pt>
                <c:pt idx="5573">
                  <c:v>15.4509246088193</c:v>
                </c:pt>
                <c:pt idx="5574">
                  <c:v>15.903982930298699</c:v>
                </c:pt>
                <c:pt idx="5575">
                  <c:v>16.352299668089099</c:v>
                </c:pt>
                <c:pt idx="5576">
                  <c:v>16.5192034139402</c:v>
                </c:pt>
                <c:pt idx="5577">
                  <c:v>16.099573257467899</c:v>
                </c:pt>
                <c:pt idx="5578">
                  <c:v>15.5478899952584</c:v>
                </c:pt>
                <c:pt idx="5579">
                  <c:v>15.262920815552301</c:v>
                </c:pt>
                <c:pt idx="5580">
                  <c:v>15.2219061166429</c:v>
                </c:pt>
                <c:pt idx="5581">
                  <c:v>15.431958274063501</c:v>
                </c:pt>
                <c:pt idx="5582">
                  <c:v>15.5512091038406</c:v>
                </c:pt>
                <c:pt idx="5583">
                  <c:v>15.5244191559981</c:v>
                </c:pt>
                <c:pt idx="5584">
                  <c:v>15.6723565670934</c:v>
                </c:pt>
                <c:pt idx="5585">
                  <c:v>15.7804646752015</c:v>
                </c:pt>
                <c:pt idx="5586">
                  <c:v>15.4781887150308</c:v>
                </c:pt>
                <c:pt idx="5587">
                  <c:v>15.120436225699301</c:v>
                </c:pt>
                <c:pt idx="5588">
                  <c:v>14.8828828828828</c:v>
                </c:pt>
                <c:pt idx="5589">
                  <c:v>14.902797534376401</c:v>
                </c:pt>
                <c:pt idx="5590">
                  <c:v>15.0881934566145</c:v>
                </c:pt>
                <c:pt idx="5591">
                  <c:v>15.0535798956851</c:v>
                </c:pt>
                <c:pt idx="5592">
                  <c:v>14.9784257942152</c:v>
                </c:pt>
                <c:pt idx="5593">
                  <c:v>14.9850640113798</c:v>
                </c:pt>
                <c:pt idx="5594">
                  <c:v>15.439544807965801</c:v>
                </c:pt>
                <c:pt idx="5595">
                  <c:v>15.994547178757699</c:v>
                </c:pt>
                <c:pt idx="5596">
                  <c:v>16.1725936462778</c:v>
                </c:pt>
                <c:pt idx="5597">
                  <c:v>15.968705547652901</c:v>
                </c:pt>
                <c:pt idx="5598">
                  <c:v>15.4404931247036</c:v>
                </c:pt>
                <c:pt idx="5599">
                  <c:v>14.970365101943999</c:v>
                </c:pt>
                <c:pt idx="5600">
                  <c:v>14.900189663347501</c:v>
                </c:pt>
                <c:pt idx="5601">
                  <c:v>15.198909435751499</c:v>
                </c:pt>
                <c:pt idx="5602">
                  <c:v>15.7880512091038</c:v>
                </c:pt>
                <c:pt idx="5603">
                  <c:v>16.129919393077198</c:v>
                </c:pt>
                <c:pt idx="5604">
                  <c:v>16.277856804172501</c:v>
                </c:pt>
                <c:pt idx="5605">
                  <c:v>15.8838311996206</c:v>
                </c:pt>
                <c:pt idx="5606">
                  <c:v>15.3283546704599</c:v>
                </c:pt>
                <c:pt idx="5607">
                  <c:v>15.183973447131301</c:v>
                </c:pt>
                <c:pt idx="5608">
                  <c:v>15.367472735893701</c:v>
                </c:pt>
                <c:pt idx="5609">
                  <c:v>15.6306306306306</c:v>
                </c:pt>
                <c:pt idx="5610">
                  <c:v>15.8176861071597</c:v>
                </c:pt>
                <c:pt idx="5611">
                  <c:v>15.816263632053101</c:v>
                </c:pt>
                <c:pt idx="5612">
                  <c:v>16.0151730678046</c:v>
                </c:pt>
                <c:pt idx="5613">
                  <c:v>16.362256993835899</c:v>
                </c:pt>
                <c:pt idx="5614">
                  <c:v>16.678994784257899</c:v>
                </c:pt>
                <c:pt idx="5615">
                  <c:v>16.559269796111899</c:v>
                </c:pt>
                <c:pt idx="5616">
                  <c:v>15.999525841631099</c:v>
                </c:pt>
                <c:pt idx="5617">
                  <c:v>15.3610715979137</c:v>
                </c:pt>
                <c:pt idx="5618">
                  <c:v>14.951872925557099</c:v>
                </c:pt>
                <c:pt idx="5619">
                  <c:v>14.649596965386401</c:v>
                </c:pt>
                <c:pt idx="5620">
                  <c:v>14.6405879563774</c:v>
                </c:pt>
                <c:pt idx="5621">
                  <c:v>15.0009483167377</c:v>
                </c:pt>
                <c:pt idx="5622">
                  <c:v>15.4165481270744</c:v>
                </c:pt>
                <c:pt idx="5623">
                  <c:v>15.5275011853959</c:v>
                </c:pt>
                <c:pt idx="5624">
                  <c:v>15.496443812233201</c:v>
                </c:pt>
                <c:pt idx="5625">
                  <c:v>15.578947368421</c:v>
                </c:pt>
                <c:pt idx="5626">
                  <c:v>15.381697486960601</c:v>
                </c:pt>
                <c:pt idx="5627">
                  <c:v>14.932669511616799</c:v>
                </c:pt>
                <c:pt idx="5628">
                  <c:v>14.807254623044001</c:v>
                </c:pt>
                <c:pt idx="5629">
                  <c:v>14.988857278330901</c:v>
                </c:pt>
                <c:pt idx="5630">
                  <c:v>15.3309625414888</c:v>
                </c:pt>
                <c:pt idx="5631">
                  <c:v>15.280227596016999</c:v>
                </c:pt>
                <c:pt idx="5632">
                  <c:v>15.004504504504499</c:v>
                </c:pt>
                <c:pt idx="5633">
                  <c:v>14.8961593172119</c:v>
                </c:pt>
                <c:pt idx="5634">
                  <c:v>15.107871028923601</c:v>
                </c:pt>
                <c:pt idx="5635">
                  <c:v>15.531768610715901</c:v>
                </c:pt>
                <c:pt idx="5636">
                  <c:v>15.8274063537221</c:v>
                </c:pt>
                <c:pt idx="5637">
                  <c:v>16.099336178283501</c:v>
                </c:pt>
                <c:pt idx="5638">
                  <c:v>15.977003319108499</c:v>
                </c:pt>
                <c:pt idx="5639">
                  <c:v>15.3601232811759</c:v>
                </c:pt>
                <c:pt idx="5640">
                  <c:v>14.6659554291133</c:v>
                </c:pt>
                <c:pt idx="5641">
                  <c:v>14.545045045045001</c:v>
                </c:pt>
                <c:pt idx="5642">
                  <c:v>15.1474632527264</c:v>
                </c:pt>
                <c:pt idx="5643">
                  <c:v>15.7268847795163</c:v>
                </c:pt>
                <c:pt idx="5644">
                  <c:v>15.769084874348</c:v>
                </c:pt>
                <c:pt idx="5645">
                  <c:v>15.7155049786628</c:v>
                </c:pt>
                <c:pt idx="5646">
                  <c:v>15.766951161688</c:v>
                </c:pt>
                <c:pt idx="5647">
                  <c:v>15.7302038880986</c:v>
                </c:pt>
                <c:pt idx="5648">
                  <c:v>15.5049786628734</c:v>
                </c:pt>
                <c:pt idx="5649">
                  <c:v>15.647937411095301</c:v>
                </c:pt>
                <c:pt idx="5650">
                  <c:v>15.8914177335229</c:v>
                </c:pt>
                <c:pt idx="5651">
                  <c:v>15.7764343290659</c:v>
                </c:pt>
                <c:pt idx="5652">
                  <c:v>15.5448079658605</c:v>
                </c:pt>
                <c:pt idx="5653">
                  <c:v>15.3015647226173</c:v>
                </c:pt>
                <c:pt idx="5654">
                  <c:v>14.992413466097601</c:v>
                </c:pt>
                <c:pt idx="5655">
                  <c:v>14.722380275011799</c:v>
                </c:pt>
                <c:pt idx="5656">
                  <c:v>14.637031768610701</c:v>
                </c:pt>
                <c:pt idx="5657">
                  <c:v>14.9348032242769</c:v>
                </c:pt>
                <c:pt idx="5658">
                  <c:v>15.401612138454199</c:v>
                </c:pt>
                <c:pt idx="5659">
                  <c:v>15.334755808440001</c:v>
                </c:pt>
                <c:pt idx="5660">
                  <c:v>14.918681839734401</c:v>
                </c:pt>
                <c:pt idx="5661">
                  <c:v>14.9155998103366</c:v>
                </c:pt>
                <c:pt idx="5662">
                  <c:v>15.308677098150699</c:v>
                </c:pt>
                <c:pt idx="5663">
                  <c:v>15.4231863442389</c:v>
                </c:pt>
                <c:pt idx="5664">
                  <c:v>14.9734471313418</c:v>
                </c:pt>
                <c:pt idx="5665">
                  <c:v>14.5896159317211</c:v>
                </c:pt>
                <c:pt idx="5666">
                  <c:v>14.884068278805101</c:v>
                </c:pt>
                <c:pt idx="5667">
                  <c:v>15.614983404457</c:v>
                </c:pt>
                <c:pt idx="5668">
                  <c:v>15.998814604077699</c:v>
                </c:pt>
                <c:pt idx="5669">
                  <c:v>15.7697961119013</c:v>
                </c:pt>
                <c:pt idx="5670">
                  <c:v>15.2005689900426</c:v>
                </c:pt>
                <c:pt idx="5671">
                  <c:v>14.853247984826901</c:v>
                </c:pt>
                <c:pt idx="5672">
                  <c:v>15.2119487908961</c:v>
                </c:pt>
                <c:pt idx="5673">
                  <c:v>15.615457562825901</c:v>
                </c:pt>
                <c:pt idx="5674">
                  <c:v>15.770981507823601</c:v>
                </c:pt>
                <c:pt idx="5675">
                  <c:v>15.8584637268847</c:v>
                </c:pt>
                <c:pt idx="5676">
                  <c:v>15.940256045519201</c:v>
                </c:pt>
                <c:pt idx="5677">
                  <c:v>15.6593172119487</c:v>
                </c:pt>
                <c:pt idx="5678">
                  <c:v>15.367235656709299</c:v>
                </c:pt>
                <c:pt idx="5679">
                  <c:v>15.0988620199146</c:v>
                </c:pt>
                <c:pt idx="5680">
                  <c:v>15.0203888098624</c:v>
                </c:pt>
                <c:pt idx="5681">
                  <c:v>15.166429587482201</c:v>
                </c:pt>
                <c:pt idx="5682">
                  <c:v>15.0066382171645</c:v>
                </c:pt>
                <c:pt idx="5683">
                  <c:v>14.508060692271201</c:v>
                </c:pt>
                <c:pt idx="5684">
                  <c:v>14.316737790422</c:v>
                </c:pt>
                <c:pt idx="5685">
                  <c:v>14.4549549549549</c:v>
                </c:pt>
                <c:pt idx="5686">
                  <c:v>14.7119487908961</c:v>
                </c:pt>
                <c:pt idx="5687">
                  <c:v>14.4416785206258</c:v>
                </c:pt>
                <c:pt idx="5688">
                  <c:v>13.9926505452821</c:v>
                </c:pt>
                <c:pt idx="5689">
                  <c:v>13.9499762920815</c:v>
                </c:pt>
                <c:pt idx="5690">
                  <c:v>14.4404931247036</c:v>
                </c:pt>
                <c:pt idx="5691">
                  <c:v>15.073494547178701</c:v>
                </c:pt>
                <c:pt idx="5692">
                  <c:v>15.395211000474101</c:v>
                </c:pt>
                <c:pt idx="5693">
                  <c:v>15.093409198672299</c:v>
                </c:pt>
                <c:pt idx="5694">
                  <c:v>14.470602181128401</c:v>
                </c:pt>
                <c:pt idx="5695">
                  <c:v>14.6220957799905</c:v>
                </c:pt>
                <c:pt idx="5696">
                  <c:v>15.040066382171601</c:v>
                </c:pt>
                <c:pt idx="5697">
                  <c:v>14.952347083926</c:v>
                </c:pt>
                <c:pt idx="5698">
                  <c:v>14.889046941678499</c:v>
                </c:pt>
                <c:pt idx="5699">
                  <c:v>15.094357515410101</c:v>
                </c:pt>
                <c:pt idx="5700">
                  <c:v>15.477003319108499</c:v>
                </c:pt>
                <c:pt idx="5701">
                  <c:v>15.4122807017543</c:v>
                </c:pt>
                <c:pt idx="5702">
                  <c:v>15.071123755334201</c:v>
                </c:pt>
                <c:pt idx="5703">
                  <c:v>14.639876718824</c:v>
                </c:pt>
                <c:pt idx="5704">
                  <c:v>14.479611190137501</c:v>
                </c:pt>
                <c:pt idx="5705">
                  <c:v>14.586770981507801</c:v>
                </c:pt>
                <c:pt idx="5706">
                  <c:v>14.6552868658131</c:v>
                </c:pt>
                <c:pt idx="5707">
                  <c:v>14.898293029871899</c:v>
                </c:pt>
                <c:pt idx="5708">
                  <c:v>15.297060218112801</c:v>
                </c:pt>
                <c:pt idx="5709">
                  <c:v>15.207444286391601</c:v>
                </c:pt>
                <c:pt idx="5710">
                  <c:v>14.746799431009901</c:v>
                </c:pt>
                <c:pt idx="5711">
                  <c:v>14.4044570886676</c:v>
                </c:pt>
                <c:pt idx="5712">
                  <c:v>14.118776671408201</c:v>
                </c:pt>
                <c:pt idx="5713">
                  <c:v>14.317923186344199</c:v>
                </c:pt>
                <c:pt idx="5714">
                  <c:v>14.488620199146499</c:v>
                </c:pt>
                <c:pt idx="5715">
                  <c:v>14.2226173541963</c:v>
                </c:pt>
                <c:pt idx="5716">
                  <c:v>13.8954480796586</c:v>
                </c:pt>
                <c:pt idx="5717">
                  <c:v>13.9473684210526</c:v>
                </c:pt>
                <c:pt idx="5718">
                  <c:v>14.2354196301564</c:v>
                </c:pt>
                <c:pt idx="5719">
                  <c:v>14.393314366998499</c:v>
                </c:pt>
                <c:pt idx="5720">
                  <c:v>14.617828354670401</c:v>
                </c:pt>
                <c:pt idx="5721">
                  <c:v>15.0327169274537</c:v>
                </c:pt>
                <c:pt idx="5722">
                  <c:v>15.320293978188699</c:v>
                </c:pt>
                <c:pt idx="5723">
                  <c:v>15.3366524419156</c:v>
                </c:pt>
                <c:pt idx="5724">
                  <c:v>14.9338549075391</c:v>
                </c:pt>
                <c:pt idx="5725">
                  <c:v>14.7164532954006</c:v>
                </c:pt>
                <c:pt idx="5726">
                  <c:v>14.612612612612599</c:v>
                </c:pt>
                <c:pt idx="5727">
                  <c:v>14.484115694642</c:v>
                </c:pt>
                <c:pt idx="5728">
                  <c:v>14.4426268373636</c:v>
                </c:pt>
                <c:pt idx="5729">
                  <c:v>14.3764817449027</c:v>
                </c:pt>
                <c:pt idx="5730">
                  <c:v>14.573257467994299</c:v>
                </c:pt>
                <c:pt idx="5731">
                  <c:v>14.6351351351351</c:v>
                </c:pt>
                <c:pt idx="5732">
                  <c:v>14.3534850640113</c:v>
                </c:pt>
                <c:pt idx="5733">
                  <c:v>14.1827880512091</c:v>
                </c:pt>
                <c:pt idx="5734">
                  <c:v>14.291133238501599</c:v>
                </c:pt>
                <c:pt idx="5735">
                  <c:v>14.683262209577901</c:v>
                </c:pt>
                <c:pt idx="5736">
                  <c:v>14.7655286865813</c:v>
                </c:pt>
                <c:pt idx="5737">
                  <c:v>14.385016595542901</c:v>
                </c:pt>
                <c:pt idx="5738">
                  <c:v>13.8717401612138</c:v>
                </c:pt>
                <c:pt idx="5739">
                  <c:v>13.7131341868183</c:v>
                </c:pt>
                <c:pt idx="5740">
                  <c:v>13.6623992413466</c:v>
                </c:pt>
                <c:pt idx="5741">
                  <c:v>13.5303461356092</c:v>
                </c:pt>
                <c:pt idx="5742">
                  <c:v>13.853959222380199</c:v>
                </c:pt>
                <c:pt idx="5743">
                  <c:v>14.1458036984352</c:v>
                </c:pt>
                <c:pt idx="5744">
                  <c:v>14.256756756756699</c:v>
                </c:pt>
                <c:pt idx="5745">
                  <c:v>14.3333333333333</c:v>
                </c:pt>
                <c:pt idx="5746">
                  <c:v>14.4371740161213</c:v>
                </c:pt>
                <c:pt idx="5747">
                  <c:v>14.554054054053999</c:v>
                </c:pt>
                <c:pt idx="5748">
                  <c:v>14.6140350877192</c:v>
                </c:pt>
                <c:pt idx="5749">
                  <c:v>14.7339971550497</c:v>
                </c:pt>
                <c:pt idx="5750">
                  <c:v>14.993124703651</c:v>
                </c:pt>
                <c:pt idx="5751">
                  <c:v>15.1977240398293</c:v>
                </c:pt>
                <c:pt idx="5752">
                  <c:v>15.1576576576576</c:v>
                </c:pt>
                <c:pt idx="5753">
                  <c:v>14.8243243243243</c:v>
                </c:pt>
                <c:pt idx="5754">
                  <c:v>14.5109056424845</c:v>
                </c:pt>
                <c:pt idx="5755">
                  <c:v>14.630867709815</c:v>
                </c:pt>
                <c:pt idx="5756">
                  <c:v>15.2226173541963</c:v>
                </c:pt>
                <c:pt idx="5757">
                  <c:v>15.189900426742501</c:v>
                </c:pt>
                <c:pt idx="5758">
                  <c:v>14.567330488383099</c:v>
                </c:pt>
                <c:pt idx="5759">
                  <c:v>14.357515410146901</c:v>
                </c:pt>
                <c:pt idx="5760">
                  <c:v>14.798482693219499</c:v>
                </c:pt>
                <c:pt idx="5761">
                  <c:v>15.2195353247984</c:v>
                </c:pt>
                <c:pt idx="5762">
                  <c:v>15.3425794215267</c:v>
                </c:pt>
                <c:pt idx="5763">
                  <c:v>15.3385490753911</c:v>
                </c:pt>
                <c:pt idx="5764">
                  <c:v>14.9044570886676</c:v>
                </c:pt>
                <c:pt idx="5765">
                  <c:v>14.3444760550023</c:v>
                </c:pt>
                <c:pt idx="5766">
                  <c:v>14.2558084400189</c:v>
                </c:pt>
                <c:pt idx="5767">
                  <c:v>14.3504030346135</c:v>
                </c:pt>
                <c:pt idx="5768">
                  <c:v>14.4506875296348</c:v>
                </c:pt>
                <c:pt idx="5769">
                  <c:v>14.837363679468901</c:v>
                </c:pt>
                <c:pt idx="5770">
                  <c:v>15.3366524419156</c:v>
                </c:pt>
                <c:pt idx="5771">
                  <c:v>15.5727833096254</c:v>
                </c:pt>
                <c:pt idx="5772">
                  <c:v>15.3470839260312</c:v>
                </c:pt>
                <c:pt idx="5773">
                  <c:v>15.022285443337999</c:v>
                </c:pt>
                <c:pt idx="5774">
                  <c:v>15.036510194404901</c:v>
                </c:pt>
                <c:pt idx="5775">
                  <c:v>15.4798482693219</c:v>
                </c:pt>
                <c:pt idx="5776">
                  <c:v>15.8579895685158</c:v>
                </c:pt>
                <c:pt idx="5777">
                  <c:v>15.8779042200094</c:v>
                </c:pt>
                <c:pt idx="5778">
                  <c:v>15.415125651967699</c:v>
                </c:pt>
                <c:pt idx="5779">
                  <c:v>14.6318160265528</c:v>
                </c:pt>
                <c:pt idx="5780">
                  <c:v>14.073257467994299</c:v>
                </c:pt>
                <c:pt idx="5781">
                  <c:v>14.109530583214701</c:v>
                </c:pt>
                <c:pt idx="5782">
                  <c:v>14.344713134186801</c:v>
                </c:pt>
                <c:pt idx="5783">
                  <c:v>14.1100047415836</c:v>
                </c:pt>
                <c:pt idx="5784">
                  <c:v>13.730915125651901</c:v>
                </c:pt>
                <c:pt idx="5785">
                  <c:v>13.746562351825499</c:v>
                </c:pt>
                <c:pt idx="5786">
                  <c:v>14.060929350403001</c:v>
                </c:pt>
                <c:pt idx="5787">
                  <c:v>14.038880986249399</c:v>
                </c:pt>
                <c:pt idx="5788">
                  <c:v>13.629445234708299</c:v>
                </c:pt>
                <c:pt idx="5789">
                  <c:v>13.372451398767099</c:v>
                </c:pt>
                <c:pt idx="5790">
                  <c:v>13.644618302513001</c:v>
                </c:pt>
                <c:pt idx="5791">
                  <c:v>14.208392603129401</c:v>
                </c:pt>
                <c:pt idx="5792">
                  <c:v>14.555239449976201</c:v>
                </c:pt>
                <c:pt idx="5793">
                  <c:v>14.1733048838312</c:v>
                </c:pt>
                <c:pt idx="5794">
                  <c:v>13.3985301090564</c:v>
                </c:pt>
                <c:pt idx="5795">
                  <c:v>12.850640113798001</c:v>
                </c:pt>
                <c:pt idx="5796">
                  <c:v>12.998814604077699</c:v>
                </c:pt>
                <c:pt idx="5797">
                  <c:v>13.1405879563774</c:v>
                </c:pt>
                <c:pt idx="5798">
                  <c:v>12.8738738738738</c:v>
                </c:pt>
                <c:pt idx="5799">
                  <c:v>12.7875770507349</c:v>
                </c:pt>
                <c:pt idx="5800">
                  <c:v>13.030583214793699</c:v>
                </c:pt>
                <c:pt idx="5801">
                  <c:v>13.1725936462778</c:v>
                </c:pt>
                <c:pt idx="5802">
                  <c:v>12.9623044096728</c:v>
                </c:pt>
                <c:pt idx="5803">
                  <c:v>12.753437648174399</c:v>
                </c:pt>
                <c:pt idx="5804">
                  <c:v>12.9447605500237</c:v>
                </c:pt>
                <c:pt idx="5805">
                  <c:v>13.0962541488857</c:v>
                </c:pt>
                <c:pt idx="5806">
                  <c:v>13.0628259838786</c:v>
                </c:pt>
                <c:pt idx="5807">
                  <c:v>13.126600284495</c:v>
                </c:pt>
                <c:pt idx="5808">
                  <c:v>13.253437648174399</c:v>
                </c:pt>
                <c:pt idx="5809">
                  <c:v>13.2081555239449</c:v>
                </c:pt>
                <c:pt idx="5810">
                  <c:v>13.142247510668501</c:v>
                </c:pt>
                <c:pt idx="5811">
                  <c:v>13.1306306306306</c:v>
                </c:pt>
                <c:pt idx="5812">
                  <c:v>13.042437174016101</c:v>
                </c:pt>
                <c:pt idx="5813">
                  <c:v>13.0211000474158</c:v>
                </c:pt>
                <c:pt idx="5814">
                  <c:v>13.1510194404931</c:v>
                </c:pt>
                <c:pt idx="5815">
                  <c:v>13.6116642958748</c:v>
                </c:pt>
                <c:pt idx="5816">
                  <c:v>13.9397818871503</c:v>
                </c:pt>
                <c:pt idx="5817">
                  <c:v>13.6273115220483</c:v>
                </c:pt>
                <c:pt idx="5818">
                  <c:v>13.113560929350401</c:v>
                </c:pt>
                <c:pt idx="5819">
                  <c:v>13.011379800853399</c:v>
                </c:pt>
                <c:pt idx="5820">
                  <c:v>13.1844476055002</c:v>
                </c:pt>
                <c:pt idx="5821">
                  <c:v>13.454243717401599</c:v>
                </c:pt>
                <c:pt idx="5822">
                  <c:v>13.4255571360834</c:v>
                </c:pt>
                <c:pt idx="5823">
                  <c:v>13.267662399241299</c:v>
                </c:pt>
                <c:pt idx="5824">
                  <c:v>13.3553816974869</c:v>
                </c:pt>
                <c:pt idx="5825">
                  <c:v>13.587008060692201</c:v>
                </c:pt>
                <c:pt idx="5826">
                  <c:v>13.742057847321</c:v>
                </c:pt>
                <c:pt idx="5827">
                  <c:v>13.745851114272099</c:v>
                </c:pt>
                <c:pt idx="5828">
                  <c:v>13.925082977714499</c:v>
                </c:pt>
                <c:pt idx="5829">
                  <c:v>14.1768610715979</c:v>
                </c:pt>
                <c:pt idx="5830">
                  <c:v>14.1977240398293</c:v>
                </c:pt>
                <c:pt idx="5831">
                  <c:v>13.7330488383119</c:v>
                </c:pt>
                <c:pt idx="5832">
                  <c:v>12.832147937410999</c:v>
                </c:pt>
                <c:pt idx="5833">
                  <c:v>12.1742532005689</c:v>
                </c:pt>
                <c:pt idx="5834">
                  <c:v>12.1282598387861</c:v>
                </c:pt>
                <c:pt idx="5835">
                  <c:v>12.329777145566601</c:v>
                </c:pt>
                <c:pt idx="5836">
                  <c:v>12.6325272641062</c:v>
                </c:pt>
                <c:pt idx="5837">
                  <c:v>13.060929350403001</c:v>
                </c:pt>
                <c:pt idx="5838">
                  <c:v>13.2792792792792</c:v>
                </c:pt>
                <c:pt idx="5839">
                  <c:v>12.9819819819819</c:v>
                </c:pt>
                <c:pt idx="5840">
                  <c:v>12.3193456614509</c:v>
                </c:pt>
                <c:pt idx="5841">
                  <c:v>11.9959696538643</c:v>
                </c:pt>
                <c:pt idx="5842">
                  <c:v>12.0706495969653</c:v>
                </c:pt>
                <c:pt idx="5843">
                  <c:v>12.309388335704099</c:v>
                </c:pt>
                <c:pt idx="5844">
                  <c:v>12.3378378378378</c:v>
                </c:pt>
                <c:pt idx="5845">
                  <c:v>12.5448079658605</c:v>
                </c:pt>
                <c:pt idx="5846">
                  <c:v>12.766239924134601</c:v>
                </c:pt>
                <c:pt idx="5847">
                  <c:v>12.815552394499701</c:v>
                </c:pt>
                <c:pt idx="5848">
                  <c:v>12.625414888572699</c:v>
                </c:pt>
                <c:pt idx="5849">
                  <c:v>12.6140350877192</c:v>
                </c:pt>
                <c:pt idx="5850">
                  <c:v>12.4513987671882</c:v>
                </c:pt>
                <c:pt idx="5851">
                  <c:v>12.2721669037458</c:v>
                </c:pt>
                <c:pt idx="5852">
                  <c:v>12.540777619724899</c:v>
                </c:pt>
                <c:pt idx="5853">
                  <c:v>12.770033191085799</c:v>
                </c:pt>
                <c:pt idx="5854">
                  <c:v>12.436462778568</c:v>
                </c:pt>
                <c:pt idx="5855">
                  <c:v>11.784495021337101</c:v>
                </c:pt>
                <c:pt idx="5856">
                  <c:v>11.2413466097676</c:v>
                </c:pt>
                <c:pt idx="5857">
                  <c:v>11.256045519203401</c:v>
                </c:pt>
                <c:pt idx="5858">
                  <c:v>11.5066382171645</c:v>
                </c:pt>
                <c:pt idx="5859">
                  <c:v>11.329065908013201</c:v>
                </c:pt>
                <c:pt idx="5860">
                  <c:v>10.6977240398293</c:v>
                </c:pt>
                <c:pt idx="5861">
                  <c:v>10.142247510668501</c:v>
                </c:pt>
                <c:pt idx="5862">
                  <c:v>10.079421526789901</c:v>
                </c:pt>
                <c:pt idx="5863">
                  <c:v>10.494547178757699</c:v>
                </c:pt>
                <c:pt idx="5864">
                  <c:v>11.1280227596017</c:v>
                </c:pt>
                <c:pt idx="5865">
                  <c:v>11.2169274537695</c:v>
                </c:pt>
                <c:pt idx="5866">
                  <c:v>10.579421526789901</c:v>
                </c:pt>
                <c:pt idx="5867">
                  <c:v>10.1431958274063</c:v>
                </c:pt>
                <c:pt idx="5868">
                  <c:v>10.378141299193899</c:v>
                </c:pt>
                <c:pt idx="5869">
                  <c:v>10.730915125651901</c:v>
                </c:pt>
                <c:pt idx="5870">
                  <c:v>10.5211000474158</c:v>
                </c:pt>
                <c:pt idx="5871">
                  <c:v>10.1946420104314</c:v>
                </c:pt>
                <c:pt idx="5872">
                  <c:v>10.0545282124229</c:v>
                </c:pt>
                <c:pt idx="5873">
                  <c:v>9.9807965860597392</c:v>
                </c:pt>
                <c:pt idx="5874">
                  <c:v>9.6986723565670907</c:v>
                </c:pt>
                <c:pt idx="5875">
                  <c:v>9.3048838311996196</c:v>
                </c:pt>
                <c:pt idx="5876">
                  <c:v>9.1386913229018401</c:v>
                </c:pt>
                <c:pt idx="5877">
                  <c:v>9.2920815552394505</c:v>
                </c:pt>
                <c:pt idx="5878">
                  <c:v>9.3594120436225605</c:v>
                </c:pt>
                <c:pt idx="5879">
                  <c:v>9.3710289236605</c:v>
                </c:pt>
                <c:pt idx="5880">
                  <c:v>9.4307728781412905</c:v>
                </c:pt>
                <c:pt idx="5881">
                  <c:v>9.6728307254622994</c:v>
                </c:pt>
                <c:pt idx="5882">
                  <c:v>9.8923660502607795</c:v>
                </c:pt>
                <c:pt idx="5883">
                  <c:v>9.9568515884305295</c:v>
                </c:pt>
                <c:pt idx="5884">
                  <c:v>9.9874348032242697</c:v>
                </c:pt>
                <c:pt idx="5885">
                  <c:v>9.8928402086296803</c:v>
                </c:pt>
                <c:pt idx="5886">
                  <c:v>9.5168326220957802</c:v>
                </c:pt>
                <c:pt idx="5887">
                  <c:v>8.8603603603603602</c:v>
                </c:pt>
                <c:pt idx="5888">
                  <c:v>8.6567093409198606</c:v>
                </c:pt>
                <c:pt idx="5889">
                  <c:v>9.1154575628259806</c:v>
                </c:pt>
                <c:pt idx="5890">
                  <c:v>9.6562351825509705</c:v>
                </c:pt>
                <c:pt idx="5891">
                  <c:v>9.7690848743480299</c:v>
                </c:pt>
                <c:pt idx="5892">
                  <c:v>9.5834518729255507</c:v>
                </c:pt>
                <c:pt idx="5893">
                  <c:v>9.3397344713134096</c:v>
                </c:pt>
                <c:pt idx="5894">
                  <c:v>9.0519203413940197</c:v>
                </c:pt>
                <c:pt idx="5895">
                  <c:v>8.7128971076339408</c:v>
                </c:pt>
                <c:pt idx="5896">
                  <c:v>8.5614035087719191</c:v>
                </c:pt>
                <c:pt idx="5897">
                  <c:v>8.67757230915125</c:v>
                </c:pt>
                <c:pt idx="5898">
                  <c:v>8.9184447605500203</c:v>
                </c:pt>
                <c:pt idx="5899">
                  <c:v>8.9658605974395407</c:v>
                </c:pt>
                <c:pt idx="5900">
                  <c:v>8.9888572783309595</c:v>
                </c:pt>
                <c:pt idx="5901">
                  <c:v>8.9791370317686106</c:v>
                </c:pt>
                <c:pt idx="5902">
                  <c:v>8.8530109056424795</c:v>
                </c:pt>
                <c:pt idx="5903">
                  <c:v>8.5995732574679895</c:v>
                </c:pt>
                <c:pt idx="5904">
                  <c:v>8.3385490753911693</c:v>
                </c:pt>
                <c:pt idx="5905">
                  <c:v>8.0713608345187193</c:v>
                </c:pt>
                <c:pt idx="5906">
                  <c:v>7.9056424845898503</c:v>
                </c:pt>
                <c:pt idx="5907">
                  <c:v>8.1448553816974805</c:v>
                </c:pt>
                <c:pt idx="5908">
                  <c:v>8.6659554291133194</c:v>
                </c:pt>
                <c:pt idx="5909">
                  <c:v>9.2133712660028397</c:v>
                </c:pt>
                <c:pt idx="5910">
                  <c:v>9.6628733997154992</c:v>
                </c:pt>
                <c:pt idx="5911">
                  <c:v>9.7780938833570392</c:v>
                </c:pt>
                <c:pt idx="5912">
                  <c:v>9.6235182550971992</c:v>
                </c:pt>
                <c:pt idx="5913">
                  <c:v>9.5884305357989508</c:v>
                </c:pt>
                <c:pt idx="5914">
                  <c:v>9.4065908013276402</c:v>
                </c:pt>
                <c:pt idx="5915">
                  <c:v>9.0881934566144995</c:v>
                </c:pt>
                <c:pt idx="5916">
                  <c:v>8.9146514935988606</c:v>
                </c:pt>
                <c:pt idx="5917">
                  <c:v>9.0957799905168297</c:v>
                </c:pt>
                <c:pt idx="5918">
                  <c:v>9.4570886676149808</c:v>
                </c:pt>
                <c:pt idx="5919">
                  <c:v>9.6341868183973407</c:v>
                </c:pt>
                <c:pt idx="5920">
                  <c:v>9.6258890469416691</c:v>
                </c:pt>
                <c:pt idx="5921">
                  <c:v>9.7273589378852492</c:v>
                </c:pt>
                <c:pt idx="5922">
                  <c:v>9.9267425320056901</c:v>
                </c:pt>
                <c:pt idx="5923">
                  <c:v>9.9331436699857694</c:v>
                </c:pt>
                <c:pt idx="5924">
                  <c:v>9.6875296348980502</c:v>
                </c:pt>
                <c:pt idx="5925">
                  <c:v>9.2754860123281109</c:v>
                </c:pt>
                <c:pt idx="5926">
                  <c:v>9.0732574679942992</c:v>
                </c:pt>
                <c:pt idx="5927">
                  <c:v>8.9836415362731099</c:v>
                </c:pt>
                <c:pt idx="5928">
                  <c:v>9.1289710763394893</c:v>
                </c:pt>
                <c:pt idx="5929">
                  <c:v>9.2676623992413401</c:v>
                </c:pt>
                <c:pt idx="5930">
                  <c:v>9.2565196775722995</c:v>
                </c:pt>
                <c:pt idx="5931">
                  <c:v>9.2247510668563208</c:v>
                </c:pt>
                <c:pt idx="5932">
                  <c:v>9.2778568041725897</c:v>
                </c:pt>
                <c:pt idx="5933">
                  <c:v>9.3968705547652895</c:v>
                </c:pt>
                <c:pt idx="5934">
                  <c:v>9.4632527264106194</c:v>
                </c:pt>
                <c:pt idx="5935">
                  <c:v>9.5289236605026009</c:v>
                </c:pt>
                <c:pt idx="5936">
                  <c:v>9.5787102892366001</c:v>
                </c:pt>
                <c:pt idx="5937">
                  <c:v>9.3923660502607795</c:v>
                </c:pt>
                <c:pt idx="5938">
                  <c:v>8.9850640113797997</c:v>
                </c:pt>
                <c:pt idx="5939">
                  <c:v>8.6301564722617297</c:v>
                </c:pt>
                <c:pt idx="5940">
                  <c:v>8.5009483167377908</c:v>
                </c:pt>
                <c:pt idx="5941">
                  <c:v>8.4227121858700809</c:v>
                </c:pt>
                <c:pt idx="5942">
                  <c:v>8.3477951635846299</c:v>
                </c:pt>
                <c:pt idx="5943">
                  <c:v>8.1787577050734903</c:v>
                </c:pt>
                <c:pt idx="5944">
                  <c:v>8.0957799905168297</c:v>
                </c:pt>
                <c:pt idx="5945">
                  <c:v>8.1422475106685592</c:v>
                </c:pt>
                <c:pt idx="5946">
                  <c:v>8.3157894736842106</c:v>
                </c:pt>
                <c:pt idx="5947">
                  <c:v>8.5881934566144995</c:v>
                </c:pt>
                <c:pt idx="5948">
                  <c:v>8.9298245614034997</c:v>
                </c:pt>
                <c:pt idx="5949">
                  <c:v>9.1863442389758099</c:v>
                </c:pt>
                <c:pt idx="5950">
                  <c:v>9.1780464675201507</c:v>
                </c:pt>
                <c:pt idx="5951">
                  <c:v>8.8409198672356499</c:v>
                </c:pt>
                <c:pt idx="5952">
                  <c:v>8.4504504504504503</c:v>
                </c:pt>
                <c:pt idx="5953">
                  <c:v>8.3854907539117995</c:v>
                </c:pt>
                <c:pt idx="5954">
                  <c:v>8.4746325272641005</c:v>
                </c:pt>
                <c:pt idx="5955">
                  <c:v>8.5284495021337108</c:v>
                </c:pt>
                <c:pt idx="5956">
                  <c:v>8.4317211948790902</c:v>
                </c:pt>
                <c:pt idx="5957">
                  <c:v>8.2697961119013694</c:v>
                </c:pt>
                <c:pt idx="5958">
                  <c:v>8.2164532954006599</c:v>
                </c:pt>
                <c:pt idx="5959">
                  <c:v>8.3079658605974291</c:v>
                </c:pt>
                <c:pt idx="5960">
                  <c:v>8.4421526789947805</c:v>
                </c:pt>
                <c:pt idx="5961">
                  <c:v>8.4966808914177303</c:v>
                </c:pt>
                <c:pt idx="5962">
                  <c:v>8.4464201043148393</c:v>
                </c:pt>
                <c:pt idx="5963">
                  <c:v>8.2728781412991896</c:v>
                </c:pt>
                <c:pt idx="5964">
                  <c:v>8.0528686581318105</c:v>
                </c:pt>
                <c:pt idx="5965">
                  <c:v>7.8719772403982899</c:v>
                </c:pt>
                <c:pt idx="5966">
                  <c:v>7.5990990990990896</c:v>
                </c:pt>
                <c:pt idx="5967">
                  <c:v>7.2949265054528203</c:v>
                </c:pt>
                <c:pt idx="5968">
                  <c:v>7.0391180654338497</c:v>
                </c:pt>
                <c:pt idx="5969">
                  <c:v>6.8117591275485996</c:v>
                </c:pt>
                <c:pt idx="5970">
                  <c:v>6.7254623044096702</c:v>
                </c:pt>
                <c:pt idx="5971">
                  <c:v>6.7847321005215697</c:v>
                </c:pt>
                <c:pt idx="5972">
                  <c:v>6.8304883831199597</c:v>
                </c:pt>
                <c:pt idx="5973">
                  <c:v>6.7975343764817397</c:v>
                </c:pt>
                <c:pt idx="5974">
                  <c:v>6.7716927453769502</c:v>
                </c:pt>
                <c:pt idx="5975">
                  <c:v>6.7304409672830703</c:v>
                </c:pt>
                <c:pt idx="5976">
                  <c:v>6.5931721194878996</c:v>
                </c:pt>
                <c:pt idx="5977">
                  <c:v>6.4084874348032201</c:v>
                </c:pt>
                <c:pt idx="5978">
                  <c:v>6.2230915125651904</c:v>
                </c:pt>
                <c:pt idx="5979">
                  <c:v>6.0694642010431403</c:v>
                </c:pt>
                <c:pt idx="5980">
                  <c:v>5.92413466097676</c:v>
                </c:pt>
                <c:pt idx="5981">
                  <c:v>5.8558558558558502</c:v>
                </c:pt>
                <c:pt idx="5982">
                  <c:v>5.8015647226173499</c:v>
                </c:pt>
                <c:pt idx="5983">
                  <c:v>5.72238027501185</c:v>
                </c:pt>
                <c:pt idx="5984">
                  <c:v>5.5289236605026</c:v>
                </c:pt>
                <c:pt idx="5985">
                  <c:v>5.3210052157420504</c:v>
                </c:pt>
                <c:pt idx="5986">
                  <c:v>5.1043148411569401</c:v>
                </c:pt>
                <c:pt idx="5987">
                  <c:v>4.9404931247036501</c:v>
                </c:pt>
                <c:pt idx="5988">
                  <c:v>4.7961119013750499</c:v>
                </c:pt>
                <c:pt idx="5989">
                  <c:v>4.6932195353247899</c:v>
                </c:pt>
                <c:pt idx="5990">
                  <c:v>4.6166429587482201</c:v>
                </c:pt>
                <c:pt idx="5991">
                  <c:v>4.5360360360360303</c:v>
                </c:pt>
                <c:pt idx="5992">
                  <c:v>4.4279279279279198</c:v>
                </c:pt>
                <c:pt idx="5993">
                  <c:v>4.3240872451398698</c:v>
                </c:pt>
                <c:pt idx="5994">
                  <c:v>4.2124229492650498</c:v>
                </c:pt>
                <c:pt idx="5995">
                  <c:v>4.0853485064011297</c:v>
                </c:pt>
                <c:pt idx="5996">
                  <c:v>3.9291133238501601</c:v>
                </c:pt>
                <c:pt idx="5997">
                  <c:v>3.7674253200568901</c:v>
                </c:pt>
                <c:pt idx="5998">
                  <c:v>3.59933617828354</c:v>
                </c:pt>
                <c:pt idx="5999">
                  <c:v>3.4516358463726799</c:v>
                </c:pt>
                <c:pt idx="6000">
                  <c:v>3.3148411569464198</c:v>
                </c:pt>
                <c:pt idx="6001">
                  <c:v>3.16405879563774</c:v>
                </c:pt>
                <c:pt idx="6002">
                  <c:v>3.0232337600758599</c:v>
                </c:pt>
                <c:pt idx="6003">
                  <c:v>2.88027501185395</c:v>
                </c:pt>
                <c:pt idx="6004">
                  <c:v>2.7477477477477401</c:v>
                </c:pt>
                <c:pt idx="6005">
                  <c:v>2.6140350877192899</c:v>
                </c:pt>
                <c:pt idx="6006">
                  <c:v>2.4599336178283502</c:v>
                </c:pt>
                <c:pt idx="6007">
                  <c:v>2.31341868183973</c:v>
                </c:pt>
                <c:pt idx="6008">
                  <c:v>2.1688003793266901</c:v>
                </c:pt>
                <c:pt idx="6009">
                  <c:v>2.0457562825983802</c:v>
                </c:pt>
                <c:pt idx="6010">
                  <c:v>1.93693693693693</c:v>
                </c:pt>
                <c:pt idx="6011">
                  <c:v>1.8449502133712601</c:v>
                </c:pt>
                <c:pt idx="6012">
                  <c:v>1.7636320531057299</c:v>
                </c:pt>
                <c:pt idx="6013">
                  <c:v>1.6816026552868599</c:v>
                </c:pt>
                <c:pt idx="6014">
                  <c:v>1.60004741583688</c:v>
                </c:pt>
                <c:pt idx="6015">
                  <c:v>1.51659554291133</c:v>
                </c:pt>
                <c:pt idx="6016">
                  <c:v>1.43717401612138</c:v>
                </c:pt>
                <c:pt idx="6017">
                  <c:v>1.3560929350402999</c:v>
                </c:pt>
                <c:pt idx="6018">
                  <c:v>1.2683736367946801</c:v>
                </c:pt>
                <c:pt idx="6019">
                  <c:v>1.18895211000474</c:v>
                </c:pt>
                <c:pt idx="6020">
                  <c:v>1.10763394973921</c:v>
                </c:pt>
                <c:pt idx="6021">
                  <c:v>1.02418207681365</c:v>
                </c:pt>
                <c:pt idx="6022">
                  <c:v>0.95187292555713598</c:v>
                </c:pt>
                <c:pt idx="6023">
                  <c:v>0.88098624940730197</c:v>
                </c:pt>
                <c:pt idx="6024">
                  <c:v>0.80583214793741098</c:v>
                </c:pt>
                <c:pt idx="6025">
                  <c:v>0.73731626363205305</c:v>
                </c:pt>
                <c:pt idx="6026">
                  <c:v>0.67567567567567499</c:v>
                </c:pt>
                <c:pt idx="6027">
                  <c:v>0.61972498814604005</c:v>
                </c:pt>
                <c:pt idx="6028">
                  <c:v>0.56875296348980497</c:v>
                </c:pt>
                <c:pt idx="6029">
                  <c:v>0.51920341394025604</c:v>
                </c:pt>
                <c:pt idx="6030">
                  <c:v>0.468705547652916</c:v>
                </c:pt>
                <c:pt idx="6031">
                  <c:v>0.42437174016121298</c:v>
                </c:pt>
                <c:pt idx="6032">
                  <c:v>0.37505926979611098</c:v>
                </c:pt>
                <c:pt idx="6033">
                  <c:v>0.33285917496443801</c:v>
                </c:pt>
                <c:pt idx="6034">
                  <c:v>0.29468942626837302</c:v>
                </c:pt>
                <c:pt idx="6035">
                  <c:v>0.25533428165007099</c:v>
                </c:pt>
                <c:pt idx="6036">
                  <c:v>0.21929824561403499</c:v>
                </c:pt>
                <c:pt idx="6037">
                  <c:v>0.18468468468468399</c:v>
                </c:pt>
                <c:pt idx="6038">
                  <c:v>0.150782361308677</c:v>
                </c:pt>
                <c:pt idx="6039">
                  <c:v>0.122332859174964</c:v>
                </c:pt>
                <c:pt idx="6040">
                  <c:v>9.7913703176861003E-2</c:v>
                </c:pt>
                <c:pt idx="6041">
                  <c:v>7.4442863916548099E-2</c:v>
                </c:pt>
                <c:pt idx="6042">
                  <c:v>5.7136083451872897E-2</c:v>
                </c:pt>
                <c:pt idx="6043">
                  <c:v>4.33854907539118E-2</c:v>
                </c:pt>
                <c:pt idx="6044">
                  <c:v>3.2954006638217098E-2</c:v>
                </c:pt>
                <c:pt idx="6045">
                  <c:v>2.2522522522522501E-2</c:v>
                </c:pt>
                <c:pt idx="6046">
                  <c:v>1.68326220957799E-2</c:v>
                </c:pt>
                <c:pt idx="6047">
                  <c:v>1.0905642484589801E-2</c:v>
                </c:pt>
                <c:pt idx="6048">
                  <c:v>6.1640587956377398E-3</c:v>
                </c:pt>
                <c:pt idx="6049">
                  <c:v>4.03034613560929E-3</c:v>
                </c:pt>
                <c:pt idx="6050">
                  <c:v>1.8966334755808399E-3</c:v>
                </c:pt>
                <c:pt idx="6051">
                  <c:v>9.4831673779042201E-4</c:v>
                </c:pt>
                <c:pt idx="6052">
                  <c:v>2.3707918444760499E-4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7034992"/>
        <c:axId val="287036168"/>
      </c:lineChart>
      <c:catAx>
        <c:axId val="28703499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036168"/>
        <c:crosses val="autoZero"/>
        <c:auto val="1"/>
        <c:lblAlgn val="ctr"/>
        <c:lblOffset val="100"/>
        <c:noMultiLvlLbl val="0"/>
      </c:catAx>
      <c:valAx>
        <c:axId val="287036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034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1 Degree Resolution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CL$1</c:f>
              <c:numCache>
                <c:formatCode>General</c:formatCode>
                <c:ptCount val="90"/>
                <c:pt idx="0">
                  <c:v>100.52500000000001</c:v>
                </c:pt>
                <c:pt idx="1">
                  <c:v>100.47</c:v>
                </c:pt>
                <c:pt idx="2">
                  <c:v>99.263000000000005</c:v>
                </c:pt>
                <c:pt idx="3">
                  <c:v>100.179</c:v>
                </c:pt>
                <c:pt idx="4">
                  <c:v>100.354</c:v>
                </c:pt>
                <c:pt idx="5">
                  <c:v>101.517</c:v>
                </c:pt>
                <c:pt idx="6">
                  <c:v>99.528000000000006</c:v>
                </c:pt>
                <c:pt idx="7">
                  <c:v>99.745999999999995</c:v>
                </c:pt>
                <c:pt idx="8">
                  <c:v>101.663</c:v>
                </c:pt>
                <c:pt idx="9">
                  <c:v>101.97799999999999</c:v>
                </c:pt>
                <c:pt idx="10">
                  <c:v>100.74299999999999</c:v>
                </c:pt>
                <c:pt idx="11">
                  <c:v>103.462</c:v>
                </c:pt>
                <c:pt idx="12">
                  <c:v>101.72499999999999</c:v>
                </c:pt>
                <c:pt idx="13">
                  <c:v>100.08</c:v>
                </c:pt>
                <c:pt idx="14">
                  <c:v>100.81699999999999</c:v>
                </c:pt>
                <c:pt idx="15">
                  <c:v>101.30800000000001</c:v>
                </c:pt>
                <c:pt idx="16">
                  <c:v>104.91200000000001</c:v>
                </c:pt>
                <c:pt idx="17">
                  <c:v>103.63500000000001</c:v>
                </c:pt>
                <c:pt idx="18">
                  <c:v>104.041</c:v>
                </c:pt>
                <c:pt idx="19">
                  <c:v>103.748</c:v>
                </c:pt>
                <c:pt idx="20">
                  <c:v>106.08199999999999</c:v>
                </c:pt>
                <c:pt idx="21">
                  <c:v>106.66800000000001</c:v>
                </c:pt>
                <c:pt idx="22">
                  <c:v>104.52800000000001</c:v>
                </c:pt>
                <c:pt idx="23">
                  <c:v>104.63200000000001</c:v>
                </c:pt>
                <c:pt idx="24">
                  <c:v>106.241</c:v>
                </c:pt>
                <c:pt idx="25">
                  <c:v>109.437</c:v>
                </c:pt>
                <c:pt idx="26">
                  <c:v>112.633</c:v>
                </c:pt>
                <c:pt idx="27">
                  <c:v>114.617</c:v>
                </c:pt>
                <c:pt idx="28">
                  <c:v>110.80200000000001</c:v>
                </c:pt>
                <c:pt idx="29">
                  <c:v>111.86</c:v>
                </c:pt>
                <c:pt idx="30">
                  <c:v>113.813</c:v>
                </c:pt>
                <c:pt idx="31">
                  <c:v>113.48</c:v>
                </c:pt>
                <c:pt idx="32">
                  <c:v>115.039</c:v>
                </c:pt>
                <c:pt idx="33">
                  <c:v>116.84699999999999</c:v>
                </c:pt>
                <c:pt idx="34">
                  <c:v>116.77500000000001</c:v>
                </c:pt>
                <c:pt idx="35">
                  <c:v>120.684</c:v>
                </c:pt>
                <c:pt idx="36">
                  <c:v>119.15300000000001</c:v>
                </c:pt>
                <c:pt idx="37">
                  <c:v>118.54600000000001</c:v>
                </c:pt>
                <c:pt idx="38">
                  <c:v>118.18600000000001</c:v>
                </c:pt>
                <c:pt idx="39">
                  <c:v>121.099</c:v>
                </c:pt>
                <c:pt idx="40">
                  <c:v>120.005</c:v>
                </c:pt>
                <c:pt idx="41">
                  <c:v>121.179</c:v>
                </c:pt>
                <c:pt idx="42">
                  <c:v>122.907</c:v>
                </c:pt>
                <c:pt idx="43">
                  <c:v>130.05099999999999</c:v>
                </c:pt>
                <c:pt idx="44">
                  <c:v>129.619</c:v>
                </c:pt>
                <c:pt idx="45">
                  <c:v>127.459</c:v>
                </c:pt>
                <c:pt idx="46">
                  <c:v>130.012</c:v>
                </c:pt>
                <c:pt idx="47">
                  <c:v>125.61199999999999</c:v>
                </c:pt>
                <c:pt idx="48">
                  <c:v>127.071</c:v>
                </c:pt>
                <c:pt idx="49">
                  <c:v>123.886</c:v>
                </c:pt>
                <c:pt idx="50">
                  <c:v>127.679</c:v>
                </c:pt>
                <c:pt idx="51">
                  <c:v>130.261</c:v>
                </c:pt>
                <c:pt idx="52">
                  <c:v>136.28</c:v>
                </c:pt>
                <c:pt idx="53">
                  <c:v>142.88800000000001</c:v>
                </c:pt>
                <c:pt idx="54">
                  <c:v>139.62100000000001</c:v>
                </c:pt>
                <c:pt idx="55">
                  <c:v>137.05500000000001</c:v>
                </c:pt>
                <c:pt idx="56">
                  <c:v>142.61000000000001</c:v>
                </c:pt>
                <c:pt idx="57">
                  <c:v>155.93899999999999</c:v>
                </c:pt>
                <c:pt idx="58">
                  <c:v>156.774</c:v>
                </c:pt>
                <c:pt idx="59">
                  <c:v>169.24600000000001</c:v>
                </c:pt>
                <c:pt idx="60">
                  <c:v>176.83</c:v>
                </c:pt>
                <c:pt idx="61">
                  <c:v>183.19499999999999</c:v>
                </c:pt>
                <c:pt idx="62">
                  <c:v>189.39099999999999</c:v>
                </c:pt>
                <c:pt idx="63">
                  <c:v>195.351</c:v>
                </c:pt>
                <c:pt idx="64">
                  <c:v>198.05500000000001</c:v>
                </c:pt>
                <c:pt idx="65">
                  <c:v>200.768</c:v>
                </c:pt>
                <c:pt idx="66">
                  <c:v>213.64599999999999</c:v>
                </c:pt>
                <c:pt idx="67">
                  <c:v>244.886</c:v>
                </c:pt>
                <c:pt idx="68">
                  <c:v>244.791</c:v>
                </c:pt>
                <c:pt idx="69">
                  <c:v>252.37299999999999</c:v>
                </c:pt>
                <c:pt idx="70">
                  <c:v>256.54300000000001</c:v>
                </c:pt>
                <c:pt idx="71">
                  <c:v>297.04500000000002</c:v>
                </c:pt>
                <c:pt idx="72">
                  <c:v>329.19799999999998</c:v>
                </c:pt>
                <c:pt idx="73">
                  <c:v>393.15199999999999</c:v>
                </c:pt>
                <c:pt idx="74">
                  <c:v>466.755</c:v>
                </c:pt>
                <c:pt idx="75">
                  <c:v>535.37900000000002</c:v>
                </c:pt>
                <c:pt idx="76">
                  <c:v>634.94600000000003</c:v>
                </c:pt>
                <c:pt idx="77">
                  <c:v>807.99800000000005</c:v>
                </c:pt>
                <c:pt idx="78">
                  <c:v>1203.979</c:v>
                </c:pt>
                <c:pt idx="79">
                  <c:v>2116.7660000000001</c:v>
                </c:pt>
                <c:pt idx="80">
                  <c:v>1955.4770000000001</c:v>
                </c:pt>
                <c:pt idx="81">
                  <c:v>12.68800000000000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2068864"/>
        <c:axId val="392073568"/>
      </c:lineChart>
      <c:catAx>
        <c:axId val="39206886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2073568"/>
        <c:crosses val="autoZero"/>
        <c:auto val="1"/>
        <c:lblAlgn val="ctr"/>
        <c:lblOffset val="100"/>
        <c:noMultiLvlLbl val="0"/>
      </c:catAx>
      <c:valAx>
        <c:axId val="392073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2068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 smtClean="0"/>
              <a:t>0.1 Degree Resolution</a:t>
            </a:r>
            <a:endParaRPr lang="en-A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eamcorrection_port!$A$1:$AHP$1</c:f>
              <c:numCache>
                <c:formatCode>General</c:formatCode>
                <c:ptCount val="900"/>
                <c:pt idx="0">
                  <c:v>100.52500000000001</c:v>
                </c:pt>
                <c:pt idx="1">
                  <c:v>100.52500000000001</c:v>
                </c:pt>
                <c:pt idx="2">
                  <c:v>100.46599999999999</c:v>
                </c:pt>
                <c:pt idx="3">
                  <c:v>100.521</c:v>
                </c:pt>
                <c:pt idx="4">
                  <c:v>100.343</c:v>
                </c:pt>
                <c:pt idx="5">
                  <c:v>100.413</c:v>
                </c:pt>
                <c:pt idx="6">
                  <c:v>100.432</c:v>
                </c:pt>
                <c:pt idx="7">
                  <c:v>100.97199999999999</c:v>
                </c:pt>
                <c:pt idx="8">
                  <c:v>100.994</c:v>
                </c:pt>
                <c:pt idx="9">
                  <c:v>100.51300000000001</c:v>
                </c:pt>
                <c:pt idx="10">
                  <c:v>100.47</c:v>
                </c:pt>
                <c:pt idx="11">
                  <c:v>100.298</c:v>
                </c:pt>
                <c:pt idx="12">
                  <c:v>100.474</c:v>
                </c:pt>
                <c:pt idx="13">
                  <c:v>100.303</c:v>
                </c:pt>
                <c:pt idx="14">
                  <c:v>100.10899999999999</c:v>
                </c:pt>
                <c:pt idx="15">
                  <c:v>100.17100000000001</c:v>
                </c:pt>
                <c:pt idx="16">
                  <c:v>99.781000000000006</c:v>
                </c:pt>
                <c:pt idx="17">
                  <c:v>99.828000000000003</c:v>
                </c:pt>
                <c:pt idx="18">
                  <c:v>99.59</c:v>
                </c:pt>
                <c:pt idx="19">
                  <c:v>99.26</c:v>
                </c:pt>
                <c:pt idx="20">
                  <c:v>99.263000000000005</c:v>
                </c:pt>
                <c:pt idx="21">
                  <c:v>99.421999999999997</c:v>
                </c:pt>
                <c:pt idx="22">
                  <c:v>99.653999999999996</c:v>
                </c:pt>
                <c:pt idx="23">
                  <c:v>99.492000000000004</c:v>
                </c:pt>
                <c:pt idx="24">
                  <c:v>99.632999999999996</c:v>
                </c:pt>
                <c:pt idx="25">
                  <c:v>99.542000000000002</c:v>
                </c:pt>
                <c:pt idx="26">
                  <c:v>99.754000000000005</c:v>
                </c:pt>
                <c:pt idx="27">
                  <c:v>99.697000000000003</c:v>
                </c:pt>
                <c:pt idx="28">
                  <c:v>100.18300000000001</c:v>
                </c:pt>
                <c:pt idx="29">
                  <c:v>99.944000000000003</c:v>
                </c:pt>
                <c:pt idx="30">
                  <c:v>100.179</c:v>
                </c:pt>
                <c:pt idx="31">
                  <c:v>99.566999999999993</c:v>
                </c:pt>
                <c:pt idx="32">
                  <c:v>99.394000000000005</c:v>
                </c:pt>
                <c:pt idx="33">
                  <c:v>99.661000000000001</c:v>
                </c:pt>
                <c:pt idx="34">
                  <c:v>99.061000000000007</c:v>
                </c:pt>
                <c:pt idx="35">
                  <c:v>99.129000000000005</c:v>
                </c:pt>
                <c:pt idx="36">
                  <c:v>99.36</c:v>
                </c:pt>
                <c:pt idx="37">
                  <c:v>99.381</c:v>
                </c:pt>
                <c:pt idx="38">
                  <c:v>99.775000000000006</c:v>
                </c:pt>
                <c:pt idx="39">
                  <c:v>100.38200000000001</c:v>
                </c:pt>
                <c:pt idx="40">
                  <c:v>100.354</c:v>
                </c:pt>
                <c:pt idx="41">
                  <c:v>100.801</c:v>
                </c:pt>
                <c:pt idx="42">
                  <c:v>100.35599999999999</c:v>
                </c:pt>
                <c:pt idx="43">
                  <c:v>100.18600000000001</c:v>
                </c:pt>
                <c:pt idx="44">
                  <c:v>100.015</c:v>
                </c:pt>
                <c:pt idx="45">
                  <c:v>100.276</c:v>
                </c:pt>
                <c:pt idx="46">
                  <c:v>100.351</c:v>
                </c:pt>
                <c:pt idx="47">
                  <c:v>100.29600000000001</c:v>
                </c:pt>
                <c:pt idx="48">
                  <c:v>100.877</c:v>
                </c:pt>
                <c:pt idx="49">
                  <c:v>100.964</c:v>
                </c:pt>
                <c:pt idx="50">
                  <c:v>101.517</c:v>
                </c:pt>
                <c:pt idx="51">
                  <c:v>101.548</c:v>
                </c:pt>
                <c:pt idx="52">
                  <c:v>101.084</c:v>
                </c:pt>
                <c:pt idx="53">
                  <c:v>100.59</c:v>
                </c:pt>
                <c:pt idx="54">
                  <c:v>100.345</c:v>
                </c:pt>
                <c:pt idx="55">
                  <c:v>99.683000000000007</c:v>
                </c:pt>
                <c:pt idx="56">
                  <c:v>99.256</c:v>
                </c:pt>
                <c:pt idx="57">
                  <c:v>99.617999999999995</c:v>
                </c:pt>
                <c:pt idx="58">
                  <c:v>99.64</c:v>
                </c:pt>
                <c:pt idx="59">
                  <c:v>99.637</c:v>
                </c:pt>
                <c:pt idx="60">
                  <c:v>99.528000000000006</c:v>
                </c:pt>
                <c:pt idx="61">
                  <c:v>99.165000000000006</c:v>
                </c:pt>
                <c:pt idx="62">
                  <c:v>98.697999999999993</c:v>
                </c:pt>
                <c:pt idx="63">
                  <c:v>98.772000000000006</c:v>
                </c:pt>
                <c:pt idx="64">
                  <c:v>99.412000000000006</c:v>
                </c:pt>
                <c:pt idx="65">
                  <c:v>98.251999999999995</c:v>
                </c:pt>
                <c:pt idx="66">
                  <c:v>98.179000000000002</c:v>
                </c:pt>
                <c:pt idx="67">
                  <c:v>98.177999999999997</c:v>
                </c:pt>
                <c:pt idx="68">
                  <c:v>98.162000000000006</c:v>
                </c:pt>
                <c:pt idx="69">
                  <c:v>99.582999999999998</c:v>
                </c:pt>
                <c:pt idx="70">
                  <c:v>99.745999999999995</c:v>
                </c:pt>
                <c:pt idx="71">
                  <c:v>99.543999999999997</c:v>
                </c:pt>
                <c:pt idx="72">
                  <c:v>98.656999999999996</c:v>
                </c:pt>
                <c:pt idx="73">
                  <c:v>98.753</c:v>
                </c:pt>
                <c:pt idx="74">
                  <c:v>99.475999999999999</c:v>
                </c:pt>
                <c:pt idx="75">
                  <c:v>100.727</c:v>
                </c:pt>
                <c:pt idx="76">
                  <c:v>101.015</c:v>
                </c:pt>
                <c:pt idx="77">
                  <c:v>101.432</c:v>
                </c:pt>
                <c:pt idx="78">
                  <c:v>101.41</c:v>
                </c:pt>
                <c:pt idx="79">
                  <c:v>101.18600000000001</c:v>
                </c:pt>
                <c:pt idx="80">
                  <c:v>101.663</c:v>
                </c:pt>
                <c:pt idx="81">
                  <c:v>102.60299999999999</c:v>
                </c:pt>
                <c:pt idx="82">
                  <c:v>103.125</c:v>
                </c:pt>
                <c:pt idx="83">
                  <c:v>102.261</c:v>
                </c:pt>
                <c:pt idx="84">
                  <c:v>102.512</c:v>
                </c:pt>
                <c:pt idx="85">
                  <c:v>102.416</c:v>
                </c:pt>
                <c:pt idx="86">
                  <c:v>102.167</c:v>
                </c:pt>
                <c:pt idx="87">
                  <c:v>102.13</c:v>
                </c:pt>
                <c:pt idx="88">
                  <c:v>102.61799999999999</c:v>
                </c:pt>
                <c:pt idx="89">
                  <c:v>102.342</c:v>
                </c:pt>
                <c:pt idx="90">
                  <c:v>101.97799999999999</c:v>
                </c:pt>
                <c:pt idx="91">
                  <c:v>101.274</c:v>
                </c:pt>
                <c:pt idx="92">
                  <c:v>100.831</c:v>
                </c:pt>
                <c:pt idx="93">
                  <c:v>101.25</c:v>
                </c:pt>
                <c:pt idx="94">
                  <c:v>101.312</c:v>
                </c:pt>
                <c:pt idx="95">
                  <c:v>100.752</c:v>
                </c:pt>
                <c:pt idx="96">
                  <c:v>99.587999999999994</c:v>
                </c:pt>
                <c:pt idx="97">
                  <c:v>100.35299999999999</c:v>
                </c:pt>
                <c:pt idx="98">
                  <c:v>100.241</c:v>
                </c:pt>
                <c:pt idx="99">
                  <c:v>100.52</c:v>
                </c:pt>
                <c:pt idx="100">
                  <c:v>100.74299999999999</c:v>
                </c:pt>
                <c:pt idx="101">
                  <c:v>101.482</c:v>
                </c:pt>
                <c:pt idx="102">
                  <c:v>102.535</c:v>
                </c:pt>
                <c:pt idx="103">
                  <c:v>102.054</c:v>
                </c:pt>
                <c:pt idx="104">
                  <c:v>103.089</c:v>
                </c:pt>
                <c:pt idx="105">
                  <c:v>104.15600000000001</c:v>
                </c:pt>
                <c:pt idx="106">
                  <c:v>104.096</c:v>
                </c:pt>
                <c:pt idx="107">
                  <c:v>103.35599999999999</c:v>
                </c:pt>
                <c:pt idx="108">
                  <c:v>103.526</c:v>
                </c:pt>
                <c:pt idx="109">
                  <c:v>103.922</c:v>
                </c:pt>
                <c:pt idx="110">
                  <c:v>103.462</c:v>
                </c:pt>
                <c:pt idx="111">
                  <c:v>102.41200000000001</c:v>
                </c:pt>
                <c:pt idx="112">
                  <c:v>101.36199999999999</c:v>
                </c:pt>
                <c:pt idx="113">
                  <c:v>102.547</c:v>
                </c:pt>
                <c:pt idx="114">
                  <c:v>101.28100000000001</c:v>
                </c:pt>
                <c:pt idx="115">
                  <c:v>100.52500000000001</c:v>
                </c:pt>
                <c:pt idx="116">
                  <c:v>100.536</c:v>
                </c:pt>
                <c:pt idx="117">
                  <c:v>101.76300000000001</c:v>
                </c:pt>
                <c:pt idx="118">
                  <c:v>102.265</c:v>
                </c:pt>
                <c:pt idx="119">
                  <c:v>101.249</c:v>
                </c:pt>
                <c:pt idx="120">
                  <c:v>101.72499999999999</c:v>
                </c:pt>
                <c:pt idx="121">
                  <c:v>102.35899999999999</c:v>
                </c:pt>
                <c:pt idx="122">
                  <c:v>101.67100000000001</c:v>
                </c:pt>
                <c:pt idx="123">
                  <c:v>101.247</c:v>
                </c:pt>
                <c:pt idx="124">
                  <c:v>101.77500000000001</c:v>
                </c:pt>
                <c:pt idx="125">
                  <c:v>101.441</c:v>
                </c:pt>
                <c:pt idx="126">
                  <c:v>101.13800000000001</c:v>
                </c:pt>
                <c:pt idx="127">
                  <c:v>100.90300000000001</c:v>
                </c:pt>
                <c:pt idx="128">
                  <c:v>100.315</c:v>
                </c:pt>
                <c:pt idx="129">
                  <c:v>100.95099999999999</c:v>
                </c:pt>
                <c:pt idx="130">
                  <c:v>100.08</c:v>
                </c:pt>
                <c:pt idx="131">
                  <c:v>100.631</c:v>
                </c:pt>
                <c:pt idx="132">
                  <c:v>100.996</c:v>
                </c:pt>
                <c:pt idx="133">
                  <c:v>101.517</c:v>
                </c:pt>
                <c:pt idx="134">
                  <c:v>100.36199999999999</c:v>
                </c:pt>
                <c:pt idx="135">
                  <c:v>100.925</c:v>
                </c:pt>
                <c:pt idx="136">
                  <c:v>100.34699999999999</c:v>
                </c:pt>
                <c:pt idx="137">
                  <c:v>100.544</c:v>
                </c:pt>
                <c:pt idx="138">
                  <c:v>100.60299999999999</c:v>
                </c:pt>
                <c:pt idx="139">
                  <c:v>100.867</c:v>
                </c:pt>
                <c:pt idx="140">
                  <c:v>100.81699999999999</c:v>
                </c:pt>
                <c:pt idx="141">
                  <c:v>101.84</c:v>
                </c:pt>
                <c:pt idx="142">
                  <c:v>101.6</c:v>
                </c:pt>
                <c:pt idx="143">
                  <c:v>102.363</c:v>
                </c:pt>
                <c:pt idx="144">
                  <c:v>102.372</c:v>
                </c:pt>
                <c:pt idx="145">
                  <c:v>102.767</c:v>
                </c:pt>
                <c:pt idx="146">
                  <c:v>102.712</c:v>
                </c:pt>
                <c:pt idx="147">
                  <c:v>101.986</c:v>
                </c:pt>
                <c:pt idx="148">
                  <c:v>101.895</c:v>
                </c:pt>
                <c:pt idx="149">
                  <c:v>101.369</c:v>
                </c:pt>
                <c:pt idx="150">
                  <c:v>101.30800000000001</c:v>
                </c:pt>
                <c:pt idx="151">
                  <c:v>101.63</c:v>
                </c:pt>
                <c:pt idx="152">
                  <c:v>101.246</c:v>
                </c:pt>
                <c:pt idx="153">
                  <c:v>101.581</c:v>
                </c:pt>
                <c:pt idx="154">
                  <c:v>102.157</c:v>
                </c:pt>
                <c:pt idx="155">
                  <c:v>101.996</c:v>
                </c:pt>
                <c:pt idx="156">
                  <c:v>103.271</c:v>
                </c:pt>
                <c:pt idx="157">
                  <c:v>104.247</c:v>
                </c:pt>
                <c:pt idx="158">
                  <c:v>104.946</c:v>
                </c:pt>
                <c:pt idx="159">
                  <c:v>104.825</c:v>
                </c:pt>
                <c:pt idx="160">
                  <c:v>104.91200000000001</c:v>
                </c:pt>
                <c:pt idx="161">
                  <c:v>103.429</c:v>
                </c:pt>
                <c:pt idx="162">
                  <c:v>102.92400000000001</c:v>
                </c:pt>
                <c:pt idx="163">
                  <c:v>102.71899999999999</c:v>
                </c:pt>
                <c:pt idx="164">
                  <c:v>103.131</c:v>
                </c:pt>
                <c:pt idx="165">
                  <c:v>103.61499999999999</c:v>
                </c:pt>
                <c:pt idx="166">
                  <c:v>102.892</c:v>
                </c:pt>
                <c:pt idx="167">
                  <c:v>102.78100000000001</c:v>
                </c:pt>
                <c:pt idx="168">
                  <c:v>102.474</c:v>
                </c:pt>
                <c:pt idx="169">
                  <c:v>103.072</c:v>
                </c:pt>
                <c:pt idx="170">
                  <c:v>103.63500000000001</c:v>
                </c:pt>
                <c:pt idx="171">
                  <c:v>105.044</c:v>
                </c:pt>
                <c:pt idx="172">
                  <c:v>104.813</c:v>
                </c:pt>
                <c:pt idx="173">
                  <c:v>105.572</c:v>
                </c:pt>
                <c:pt idx="174">
                  <c:v>105.449</c:v>
                </c:pt>
                <c:pt idx="175">
                  <c:v>104.623</c:v>
                </c:pt>
                <c:pt idx="176">
                  <c:v>104.71</c:v>
                </c:pt>
                <c:pt idx="177">
                  <c:v>104.041</c:v>
                </c:pt>
                <c:pt idx="178">
                  <c:v>104.19199999999999</c:v>
                </c:pt>
                <c:pt idx="179">
                  <c:v>104.40600000000001</c:v>
                </c:pt>
                <c:pt idx="180">
                  <c:v>104.041</c:v>
                </c:pt>
                <c:pt idx="181">
                  <c:v>103.792</c:v>
                </c:pt>
                <c:pt idx="182">
                  <c:v>104.244</c:v>
                </c:pt>
                <c:pt idx="183">
                  <c:v>103.54300000000001</c:v>
                </c:pt>
                <c:pt idx="184">
                  <c:v>104.217</c:v>
                </c:pt>
                <c:pt idx="185">
                  <c:v>102.85599999999999</c:v>
                </c:pt>
                <c:pt idx="186">
                  <c:v>104.02800000000001</c:v>
                </c:pt>
                <c:pt idx="187">
                  <c:v>104.172</c:v>
                </c:pt>
                <c:pt idx="188">
                  <c:v>103.488</c:v>
                </c:pt>
                <c:pt idx="189">
                  <c:v>103.95399999999999</c:v>
                </c:pt>
                <c:pt idx="190">
                  <c:v>103.748</c:v>
                </c:pt>
                <c:pt idx="191">
                  <c:v>102.956</c:v>
                </c:pt>
                <c:pt idx="192">
                  <c:v>103.361</c:v>
                </c:pt>
                <c:pt idx="193">
                  <c:v>103.03</c:v>
                </c:pt>
                <c:pt idx="194">
                  <c:v>103.294</c:v>
                </c:pt>
                <c:pt idx="195">
                  <c:v>102.91</c:v>
                </c:pt>
                <c:pt idx="196">
                  <c:v>103.133</c:v>
                </c:pt>
                <c:pt idx="197">
                  <c:v>104.68</c:v>
                </c:pt>
                <c:pt idx="198">
                  <c:v>106.157</c:v>
                </c:pt>
                <c:pt idx="199">
                  <c:v>106.217</c:v>
                </c:pt>
                <c:pt idx="200">
                  <c:v>106.08199999999999</c:v>
                </c:pt>
                <c:pt idx="201">
                  <c:v>104.85</c:v>
                </c:pt>
                <c:pt idx="202">
                  <c:v>106.039</c:v>
                </c:pt>
                <c:pt idx="203">
                  <c:v>106.85299999999999</c:v>
                </c:pt>
                <c:pt idx="204">
                  <c:v>107.78</c:v>
                </c:pt>
                <c:pt idx="205">
                  <c:v>108.233</c:v>
                </c:pt>
                <c:pt idx="206">
                  <c:v>107.236</c:v>
                </c:pt>
                <c:pt idx="207">
                  <c:v>106.96599999999999</c:v>
                </c:pt>
                <c:pt idx="208">
                  <c:v>107.124</c:v>
                </c:pt>
                <c:pt idx="209">
                  <c:v>107.682</c:v>
                </c:pt>
                <c:pt idx="210">
                  <c:v>106.66800000000001</c:v>
                </c:pt>
                <c:pt idx="211">
                  <c:v>105.806</c:v>
                </c:pt>
                <c:pt idx="212">
                  <c:v>105.946</c:v>
                </c:pt>
                <c:pt idx="213">
                  <c:v>105.087</c:v>
                </c:pt>
                <c:pt idx="214">
                  <c:v>105.40600000000001</c:v>
                </c:pt>
                <c:pt idx="215">
                  <c:v>104.96</c:v>
                </c:pt>
                <c:pt idx="216">
                  <c:v>105.947</c:v>
                </c:pt>
                <c:pt idx="217">
                  <c:v>105.21899999999999</c:v>
                </c:pt>
                <c:pt idx="218">
                  <c:v>105.1</c:v>
                </c:pt>
                <c:pt idx="219">
                  <c:v>103.70399999999999</c:v>
                </c:pt>
                <c:pt idx="220">
                  <c:v>104.52800000000001</c:v>
                </c:pt>
                <c:pt idx="221">
                  <c:v>104.42</c:v>
                </c:pt>
                <c:pt idx="222">
                  <c:v>104.916</c:v>
                </c:pt>
                <c:pt idx="223">
                  <c:v>105.001</c:v>
                </c:pt>
                <c:pt idx="224">
                  <c:v>104.467</c:v>
                </c:pt>
                <c:pt idx="225">
                  <c:v>104.44199999999999</c:v>
                </c:pt>
                <c:pt idx="226">
                  <c:v>104.896</c:v>
                </c:pt>
                <c:pt idx="227">
                  <c:v>105.681</c:v>
                </c:pt>
                <c:pt idx="228">
                  <c:v>104.845</c:v>
                </c:pt>
                <c:pt idx="229">
                  <c:v>105.146</c:v>
                </c:pt>
                <c:pt idx="230">
                  <c:v>104.63200000000001</c:v>
                </c:pt>
                <c:pt idx="231">
                  <c:v>104.893</c:v>
                </c:pt>
                <c:pt idx="232">
                  <c:v>105.28</c:v>
                </c:pt>
                <c:pt idx="233">
                  <c:v>106.752</c:v>
                </c:pt>
                <c:pt idx="234">
                  <c:v>108.143</c:v>
                </c:pt>
                <c:pt idx="235">
                  <c:v>107.627</c:v>
                </c:pt>
                <c:pt idx="236">
                  <c:v>106.94199999999999</c:v>
                </c:pt>
                <c:pt idx="237">
                  <c:v>106.108</c:v>
                </c:pt>
                <c:pt idx="238">
                  <c:v>105.97199999999999</c:v>
                </c:pt>
                <c:pt idx="239">
                  <c:v>106.11799999999999</c:v>
                </c:pt>
                <c:pt idx="240">
                  <c:v>106.241</c:v>
                </c:pt>
                <c:pt idx="241">
                  <c:v>106.91</c:v>
                </c:pt>
                <c:pt idx="242">
                  <c:v>108.47</c:v>
                </c:pt>
                <c:pt idx="243">
                  <c:v>108.208</c:v>
                </c:pt>
                <c:pt idx="244">
                  <c:v>108.20399999999999</c:v>
                </c:pt>
                <c:pt idx="245">
                  <c:v>107.256</c:v>
                </c:pt>
                <c:pt idx="246">
                  <c:v>108.349</c:v>
                </c:pt>
                <c:pt idx="247">
                  <c:v>108.94499999999999</c:v>
                </c:pt>
                <c:pt idx="248">
                  <c:v>109.596</c:v>
                </c:pt>
                <c:pt idx="249">
                  <c:v>108.35299999999999</c:v>
                </c:pt>
                <c:pt idx="250">
                  <c:v>109.437</c:v>
                </c:pt>
                <c:pt idx="251">
                  <c:v>110.197</c:v>
                </c:pt>
                <c:pt idx="252">
                  <c:v>111.563</c:v>
                </c:pt>
                <c:pt idx="253">
                  <c:v>112.685</c:v>
                </c:pt>
                <c:pt idx="254">
                  <c:v>113.364</c:v>
                </c:pt>
                <c:pt idx="255">
                  <c:v>113.524</c:v>
                </c:pt>
                <c:pt idx="256">
                  <c:v>113.476</c:v>
                </c:pt>
                <c:pt idx="257">
                  <c:v>112.709</c:v>
                </c:pt>
                <c:pt idx="258">
                  <c:v>112.32</c:v>
                </c:pt>
                <c:pt idx="259">
                  <c:v>112.899</c:v>
                </c:pt>
                <c:pt idx="260">
                  <c:v>112.633</c:v>
                </c:pt>
                <c:pt idx="261">
                  <c:v>112.922</c:v>
                </c:pt>
                <c:pt idx="262">
                  <c:v>114.38</c:v>
                </c:pt>
                <c:pt idx="263">
                  <c:v>114.693</c:v>
                </c:pt>
                <c:pt idx="264">
                  <c:v>114.093</c:v>
                </c:pt>
                <c:pt idx="265">
                  <c:v>113.36499999999999</c:v>
                </c:pt>
                <c:pt idx="266">
                  <c:v>111.726</c:v>
                </c:pt>
                <c:pt idx="267">
                  <c:v>112</c:v>
                </c:pt>
                <c:pt idx="268">
                  <c:v>113.27800000000001</c:v>
                </c:pt>
                <c:pt idx="269">
                  <c:v>114.02500000000001</c:v>
                </c:pt>
                <c:pt idx="270">
                  <c:v>114.617</c:v>
                </c:pt>
                <c:pt idx="271">
                  <c:v>114.938</c:v>
                </c:pt>
                <c:pt idx="272">
                  <c:v>113.70699999999999</c:v>
                </c:pt>
                <c:pt idx="273">
                  <c:v>112.708</c:v>
                </c:pt>
                <c:pt idx="274">
                  <c:v>110.991</c:v>
                </c:pt>
                <c:pt idx="275">
                  <c:v>111.983</c:v>
                </c:pt>
                <c:pt idx="276">
                  <c:v>113.251</c:v>
                </c:pt>
                <c:pt idx="277">
                  <c:v>113.29</c:v>
                </c:pt>
                <c:pt idx="278">
                  <c:v>112.111</c:v>
                </c:pt>
                <c:pt idx="279">
                  <c:v>110.551</c:v>
                </c:pt>
                <c:pt idx="280">
                  <c:v>110.80200000000001</c:v>
                </c:pt>
                <c:pt idx="281">
                  <c:v>111.11799999999999</c:v>
                </c:pt>
                <c:pt idx="282">
                  <c:v>110.771</c:v>
                </c:pt>
                <c:pt idx="283">
                  <c:v>112.288</c:v>
                </c:pt>
                <c:pt idx="284">
                  <c:v>115.315</c:v>
                </c:pt>
                <c:pt idx="285">
                  <c:v>118.211</c:v>
                </c:pt>
                <c:pt idx="286">
                  <c:v>118.20399999999999</c:v>
                </c:pt>
                <c:pt idx="287">
                  <c:v>113.044</c:v>
                </c:pt>
                <c:pt idx="288">
                  <c:v>109.806</c:v>
                </c:pt>
                <c:pt idx="289">
                  <c:v>110.488</c:v>
                </c:pt>
                <c:pt idx="290">
                  <c:v>111.86</c:v>
                </c:pt>
                <c:pt idx="291">
                  <c:v>112.943</c:v>
                </c:pt>
                <c:pt idx="292">
                  <c:v>112.423</c:v>
                </c:pt>
                <c:pt idx="293">
                  <c:v>112.646</c:v>
                </c:pt>
                <c:pt idx="294">
                  <c:v>111.947</c:v>
                </c:pt>
                <c:pt idx="295">
                  <c:v>111.593</c:v>
                </c:pt>
                <c:pt idx="296">
                  <c:v>113.42700000000001</c:v>
                </c:pt>
                <c:pt idx="297">
                  <c:v>114.982</c:v>
                </c:pt>
                <c:pt idx="298">
                  <c:v>115.79300000000001</c:v>
                </c:pt>
                <c:pt idx="299">
                  <c:v>115.32299999999999</c:v>
                </c:pt>
                <c:pt idx="300">
                  <c:v>113.813</c:v>
                </c:pt>
                <c:pt idx="301">
                  <c:v>113.86199999999999</c:v>
                </c:pt>
                <c:pt idx="302">
                  <c:v>114.85599999999999</c:v>
                </c:pt>
                <c:pt idx="303">
                  <c:v>116.232</c:v>
                </c:pt>
                <c:pt idx="304">
                  <c:v>114.40600000000001</c:v>
                </c:pt>
                <c:pt idx="305">
                  <c:v>112.33499999999999</c:v>
                </c:pt>
                <c:pt idx="306">
                  <c:v>113.232</c:v>
                </c:pt>
                <c:pt idx="307">
                  <c:v>114.21299999999999</c:v>
                </c:pt>
                <c:pt idx="308">
                  <c:v>112.61799999999999</c:v>
                </c:pt>
                <c:pt idx="309">
                  <c:v>113.176</c:v>
                </c:pt>
                <c:pt idx="310">
                  <c:v>113.48</c:v>
                </c:pt>
                <c:pt idx="311">
                  <c:v>112.12</c:v>
                </c:pt>
                <c:pt idx="312">
                  <c:v>113.22799999999999</c:v>
                </c:pt>
                <c:pt idx="313">
                  <c:v>112.426</c:v>
                </c:pt>
                <c:pt idx="314">
                  <c:v>112.657</c:v>
                </c:pt>
                <c:pt idx="315">
                  <c:v>112.767</c:v>
                </c:pt>
                <c:pt idx="316">
                  <c:v>111.64</c:v>
                </c:pt>
                <c:pt idx="317">
                  <c:v>111.02500000000001</c:v>
                </c:pt>
                <c:pt idx="318">
                  <c:v>111.675</c:v>
                </c:pt>
                <c:pt idx="319">
                  <c:v>113.78</c:v>
                </c:pt>
                <c:pt idx="320">
                  <c:v>115.039</c:v>
                </c:pt>
                <c:pt idx="321">
                  <c:v>112.88</c:v>
                </c:pt>
                <c:pt idx="322">
                  <c:v>112.01300000000001</c:v>
                </c:pt>
                <c:pt idx="323">
                  <c:v>111.721</c:v>
                </c:pt>
                <c:pt idx="324">
                  <c:v>111.78100000000001</c:v>
                </c:pt>
                <c:pt idx="325">
                  <c:v>111.233</c:v>
                </c:pt>
                <c:pt idx="326">
                  <c:v>111.696</c:v>
                </c:pt>
                <c:pt idx="327">
                  <c:v>113.81</c:v>
                </c:pt>
                <c:pt idx="328">
                  <c:v>115.47199999999999</c:v>
                </c:pt>
                <c:pt idx="329">
                  <c:v>116.56</c:v>
                </c:pt>
                <c:pt idx="330">
                  <c:v>116.84699999999999</c:v>
                </c:pt>
                <c:pt idx="331">
                  <c:v>116.279</c:v>
                </c:pt>
                <c:pt idx="332">
                  <c:v>115.265</c:v>
                </c:pt>
                <c:pt idx="333">
                  <c:v>114.46</c:v>
                </c:pt>
                <c:pt idx="334">
                  <c:v>116.486</c:v>
                </c:pt>
                <c:pt idx="335">
                  <c:v>118.17</c:v>
                </c:pt>
                <c:pt idx="336">
                  <c:v>116.416</c:v>
                </c:pt>
                <c:pt idx="337">
                  <c:v>115.955</c:v>
                </c:pt>
                <c:pt idx="338">
                  <c:v>116.4</c:v>
                </c:pt>
                <c:pt idx="339">
                  <c:v>116.224</c:v>
                </c:pt>
                <c:pt idx="340">
                  <c:v>116.77500000000001</c:v>
                </c:pt>
                <c:pt idx="341">
                  <c:v>115.703</c:v>
                </c:pt>
                <c:pt idx="342">
                  <c:v>115.41800000000001</c:v>
                </c:pt>
                <c:pt idx="343">
                  <c:v>114.881</c:v>
                </c:pt>
                <c:pt idx="344">
                  <c:v>116.604</c:v>
                </c:pt>
                <c:pt idx="345">
                  <c:v>118.95399999999999</c:v>
                </c:pt>
                <c:pt idx="346">
                  <c:v>122.105</c:v>
                </c:pt>
                <c:pt idx="347">
                  <c:v>122.288</c:v>
                </c:pt>
                <c:pt idx="348">
                  <c:v>119.67400000000001</c:v>
                </c:pt>
                <c:pt idx="349">
                  <c:v>119.333</c:v>
                </c:pt>
                <c:pt idx="350">
                  <c:v>120.684</c:v>
                </c:pt>
                <c:pt idx="351">
                  <c:v>121.648</c:v>
                </c:pt>
                <c:pt idx="352">
                  <c:v>119.40600000000001</c:v>
                </c:pt>
                <c:pt idx="353">
                  <c:v>121.369</c:v>
                </c:pt>
                <c:pt idx="354">
                  <c:v>121.086</c:v>
                </c:pt>
                <c:pt idx="355">
                  <c:v>120.675</c:v>
                </c:pt>
                <c:pt idx="356">
                  <c:v>119.435</c:v>
                </c:pt>
                <c:pt idx="357">
                  <c:v>120.252</c:v>
                </c:pt>
                <c:pt idx="358">
                  <c:v>119.40300000000001</c:v>
                </c:pt>
                <c:pt idx="359">
                  <c:v>120.73699999999999</c:v>
                </c:pt>
                <c:pt idx="360">
                  <c:v>119.15300000000001</c:v>
                </c:pt>
                <c:pt idx="361">
                  <c:v>119.40900000000001</c:v>
                </c:pt>
                <c:pt idx="362">
                  <c:v>121.417</c:v>
                </c:pt>
                <c:pt idx="363">
                  <c:v>120.529</c:v>
                </c:pt>
                <c:pt idx="364">
                  <c:v>115.834</c:v>
                </c:pt>
                <c:pt idx="365">
                  <c:v>115.878</c:v>
                </c:pt>
                <c:pt idx="366">
                  <c:v>120.124</c:v>
                </c:pt>
                <c:pt idx="367">
                  <c:v>120.483</c:v>
                </c:pt>
                <c:pt idx="368">
                  <c:v>120.139</c:v>
                </c:pt>
                <c:pt idx="369">
                  <c:v>118.443</c:v>
                </c:pt>
                <c:pt idx="370">
                  <c:v>118.54600000000001</c:v>
                </c:pt>
                <c:pt idx="371">
                  <c:v>118.223</c:v>
                </c:pt>
                <c:pt idx="372">
                  <c:v>118.86499999999999</c:v>
                </c:pt>
                <c:pt idx="373">
                  <c:v>121.51900000000001</c:v>
                </c:pt>
                <c:pt idx="374">
                  <c:v>119.98399999999999</c:v>
                </c:pt>
                <c:pt idx="375">
                  <c:v>116.721</c:v>
                </c:pt>
                <c:pt idx="376">
                  <c:v>118.66</c:v>
                </c:pt>
                <c:pt idx="377">
                  <c:v>119.745</c:v>
                </c:pt>
                <c:pt idx="378">
                  <c:v>122.626</c:v>
                </c:pt>
                <c:pt idx="379">
                  <c:v>120.56399999999999</c:v>
                </c:pt>
                <c:pt idx="380">
                  <c:v>118.18600000000001</c:v>
                </c:pt>
                <c:pt idx="381">
                  <c:v>115.398</c:v>
                </c:pt>
                <c:pt idx="382">
                  <c:v>118.587</c:v>
                </c:pt>
                <c:pt idx="383">
                  <c:v>118.718</c:v>
                </c:pt>
                <c:pt idx="384">
                  <c:v>118.82</c:v>
                </c:pt>
                <c:pt idx="385">
                  <c:v>119.6</c:v>
                </c:pt>
                <c:pt idx="386">
                  <c:v>116.77</c:v>
                </c:pt>
                <c:pt idx="387">
                  <c:v>116.694</c:v>
                </c:pt>
                <c:pt idx="388">
                  <c:v>117.89400000000001</c:v>
                </c:pt>
                <c:pt idx="389">
                  <c:v>119.51</c:v>
                </c:pt>
                <c:pt idx="390">
                  <c:v>121.099</c:v>
                </c:pt>
                <c:pt idx="391">
                  <c:v>123.884</c:v>
                </c:pt>
                <c:pt idx="392">
                  <c:v>117.499</c:v>
                </c:pt>
                <c:pt idx="393">
                  <c:v>116.242</c:v>
                </c:pt>
                <c:pt idx="394">
                  <c:v>117.908</c:v>
                </c:pt>
                <c:pt idx="395">
                  <c:v>120.547</c:v>
                </c:pt>
                <c:pt idx="396">
                  <c:v>118.73099999999999</c:v>
                </c:pt>
                <c:pt idx="397">
                  <c:v>118.303</c:v>
                </c:pt>
                <c:pt idx="398">
                  <c:v>118.35599999999999</c:v>
                </c:pt>
                <c:pt idx="399">
                  <c:v>119.334</c:v>
                </c:pt>
                <c:pt idx="400">
                  <c:v>120.005</c:v>
                </c:pt>
                <c:pt idx="401">
                  <c:v>123.533</c:v>
                </c:pt>
                <c:pt idx="402">
                  <c:v>122.334</c:v>
                </c:pt>
                <c:pt idx="403">
                  <c:v>122.81100000000001</c:v>
                </c:pt>
                <c:pt idx="404">
                  <c:v>120.58499999999999</c:v>
                </c:pt>
                <c:pt idx="405">
                  <c:v>121.65300000000001</c:v>
                </c:pt>
                <c:pt idx="406">
                  <c:v>123.53700000000001</c:v>
                </c:pt>
                <c:pt idx="407">
                  <c:v>122.125</c:v>
                </c:pt>
                <c:pt idx="408">
                  <c:v>119.545</c:v>
                </c:pt>
                <c:pt idx="409">
                  <c:v>119.14700000000001</c:v>
                </c:pt>
                <c:pt idx="410">
                  <c:v>121.179</c:v>
                </c:pt>
                <c:pt idx="411">
                  <c:v>119.82899999999999</c:v>
                </c:pt>
                <c:pt idx="412">
                  <c:v>120.083</c:v>
                </c:pt>
                <c:pt idx="413">
                  <c:v>121.821</c:v>
                </c:pt>
                <c:pt idx="414">
                  <c:v>124.15900000000001</c:v>
                </c:pt>
                <c:pt idx="415">
                  <c:v>122.40900000000001</c:v>
                </c:pt>
                <c:pt idx="416">
                  <c:v>122.78</c:v>
                </c:pt>
                <c:pt idx="417">
                  <c:v>126.857</c:v>
                </c:pt>
                <c:pt idx="418">
                  <c:v>127.703</c:v>
                </c:pt>
                <c:pt idx="419">
                  <c:v>125.127</c:v>
                </c:pt>
                <c:pt idx="420">
                  <c:v>122.907</c:v>
                </c:pt>
                <c:pt idx="421">
                  <c:v>126.76600000000001</c:v>
                </c:pt>
                <c:pt idx="422">
                  <c:v>124.748</c:v>
                </c:pt>
                <c:pt idx="423">
                  <c:v>125.313</c:v>
                </c:pt>
                <c:pt idx="424">
                  <c:v>123.592</c:v>
                </c:pt>
                <c:pt idx="425">
                  <c:v>123.723</c:v>
                </c:pt>
                <c:pt idx="426">
                  <c:v>126.77</c:v>
                </c:pt>
                <c:pt idx="427">
                  <c:v>130.02799999999999</c:v>
                </c:pt>
                <c:pt idx="428">
                  <c:v>127.04600000000001</c:v>
                </c:pt>
                <c:pt idx="429">
                  <c:v>127.812</c:v>
                </c:pt>
                <c:pt idx="430">
                  <c:v>130.05099999999999</c:v>
                </c:pt>
                <c:pt idx="431">
                  <c:v>127.691</c:v>
                </c:pt>
                <c:pt idx="432">
                  <c:v>130.24799999999999</c:v>
                </c:pt>
                <c:pt idx="433">
                  <c:v>130.38499999999999</c:v>
                </c:pt>
                <c:pt idx="434">
                  <c:v>131.61500000000001</c:v>
                </c:pt>
                <c:pt idx="435">
                  <c:v>131.63999999999999</c:v>
                </c:pt>
                <c:pt idx="436">
                  <c:v>128.63200000000001</c:v>
                </c:pt>
                <c:pt idx="437">
                  <c:v>128.59899999999999</c:v>
                </c:pt>
                <c:pt idx="438">
                  <c:v>134.31299999999999</c:v>
                </c:pt>
                <c:pt idx="439">
                  <c:v>131.44399999999999</c:v>
                </c:pt>
                <c:pt idx="440">
                  <c:v>129.619</c:v>
                </c:pt>
                <c:pt idx="441">
                  <c:v>130.53800000000001</c:v>
                </c:pt>
                <c:pt idx="442">
                  <c:v>130.35499999999999</c:v>
                </c:pt>
                <c:pt idx="443">
                  <c:v>132.512</c:v>
                </c:pt>
                <c:pt idx="444">
                  <c:v>129.17400000000001</c:v>
                </c:pt>
                <c:pt idx="445">
                  <c:v>127.941</c:v>
                </c:pt>
                <c:pt idx="446">
                  <c:v>129.44499999999999</c:v>
                </c:pt>
                <c:pt idx="447">
                  <c:v>129.25200000000001</c:v>
                </c:pt>
                <c:pt idx="448">
                  <c:v>127.776</c:v>
                </c:pt>
                <c:pt idx="449">
                  <c:v>126.818</c:v>
                </c:pt>
                <c:pt idx="450">
                  <c:v>127.459</c:v>
                </c:pt>
                <c:pt idx="451">
                  <c:v>127.117</c:v>
                </c:pt>
                <c:pt idx="452">
                  <c:v>126.91</c:v>
                </c:pt>
                <c:pt idx="453">
                  <c:v>126.242</c:v>
                </c:pt>
                <c:pt idx="454">
                  <c:v>128.96299999999999</c:v>
                </c:pt>
                <c:pt idx="455">
                  <c:v>130.292</c:v>
                </c:pt>
                <c:pt idx="456">
                  <c:v>129.37799999999999</c:v>
                </c:pt>
                <c:pt idx="457">
                  <c:v>126.78100000000001</c:v>
                </c:pt>
                <c:pt idx="458">
                  <c:v>127.206</c:v>
                </c:pt>
                <c:pt idx="459">
                  <c:v>126.745</c:v>
                </c:pt>
                <c:pt idx="460">
                  <c:v>130.012</c:v>
                </c:pt>
                <c:pt idx="461">
                  <c:v>127.05500000000001</c:v>
                </c:pt>
                <c:pt idx="462">
                  <c:v>126.905</c:v>
                </c:pt>
                <c:pt idx="463">
                  <c:v>128.44999999999999</c:v>
                </c:pt>
                <c:pt idx="464">
                  <c:v>127.34099999999999</c:v>
                </c:pt>
                <c:pt idx="465">
                  <c:v>126.24299999999999</c:v>
                </c:pt>
                <c:pt idx="466">
                  <c:v>128.761</c:v>
                </c:pt>
                <c:pt idx="467">
                  <c:v>126.715</c:v>
                </c:pt>
                <c:pt idx="468">
                  <c:v>126.221</c:v>
                </c:pt>
                <c:pt idx="469">
                  <c:v>124.97199999999999</c:v>
                </c:pt>
                <c:pt idx="470">
                  <c:v>125.61199999999999</c:v>
                </c:pt>
                <c:pt idx="471">
                  <c:v>126.041</c:v>
                </c:pt>
                <c:pt idx="472">
                  <c:v>122.816</c:v>
                </c:pt>
                <c:pt idx="473">
                  <c:v>125.04300000000001</c:v>
                </c:pt>
                <c:pt idx="474">
                  <c:v>123.806</c:v>
                </c:pt>
                <c:pt idx="475">
                  <c:v>123.824</c:v>
                </c:pt>
                <c:pt idx="476">
                  <c:v>123.056</c:v>
                </c:pt>
                <c:pt idx="477">
                  <c:v>125.536</c:v>
                </c:pt>
                <c:pt idx="478">
                  <c:v>126.55200000000001</c:v>
                </c:pt>
                <c:pt idx="479">
                  <c:v>126.76</c:v>
                </c:pt>
                <c:pt idx="480">
                  <c:v>127.071</c:v>
                </c:pt>
                <c:pt idx="481">
                  <c:v>120.367</c:v>
                </c:pt>
                <c:pt idx="482">
                  <c:v>123.857</c:v>
                </c:pt>
                <c:pt idx="483">
                  <c:v>126.331</c:v>
                </c:pt>
                <c:pt idx="484">
                  <c:v>128.976</c:v>
                </c:pt>
                <c:pt idx="485">
                  <c:v>123.5</c:v>
                </c:pt>
                <c:pt idx="486">
                  <c:v>124.23699999999999</c:v>
                </c:pt>
                <c:pt idx="487">
                  <c:v>122.185</c:v>
                </c:pt>
                <c:pt idx="488">
                  <c:v>128.654</c:v>
                </c:pt>
                <c:pt idx="489">
                  <c:v>124.12</c:v>
                </c:pt>
                <c:pt idx="490">
                  <c:v>123.886</c:v>
                </c:pt>
                <c:pt idx="491">
                  <c:v>122.154</c:v>
                </c:pt>
                <c:pt idx="492">
                  <c:v>128.25</c:v>
                </c:pt>
                <c:pt idx="493">
                  <c:v>128.05799999999999</c:v>
                </c:pt>
                <c:pt idx="494">
                  <c:v>127.321</c:v>
                </c:pt>
                <c:pt idx="495">
                  <c:v>126.437</c:v>
                </c:pt>
                <c:pt idx="496">
                  <c:v>128.80699999999999</c:v>
                </c:pt>
                <c:pt idx="497">
                  <c:v>128.41</c:v>
                </c:pt>
                <c:pt idx="498">
                  <c:v>128.70099999999999</c:v>
                </c:pt>
                <c:pt idx="499">
                  <c:v>129.38399999999999</c:v>
                </c:pt>
                <c:pt idx="500">
                  <c:v>127.679</c:v>
                </c:pt>
                <c:pt idx="501">
                  <c:v>126.959</c:v>
                </c:pt>
                <c:pt idx="502">
                  <c:v>131.46899999999999</c:v>
                </c:pt>
                <c:pt idx="503">
                  <c:v>129.44499999999999</c:v>
                </c:pt>
                <c:pt idx="504">
                  <c:v>125.271</c:v>
                </c:pt>
                <c:pt idx="505">
                  <c:v>131.946</c:v>
                </c:pt>
                <c:pt idx="506">
                  <c:v>129.38800000000001</c:v>
                </c:pt>
                <c:pt idx="507">
                  <c:v>130.46600000000001</c:v>
                </c:pt>
                <c:pt idx="508">
                  <c:v>130.43100000000001</c:v>
                </c:pt>
                <c:pt idx="509">
                  <c:v>130.17099999999999</c:v>
                </c:pt>
                <c:pt idx="510">
                  <c:v>130.261</c:v>
                </c:pt>
                <c:pt idx="511">
                  <c:v>131.25</c:v>
                </c:pt>
                <c:pt idx="512">
                  <c:v>137.74600000000001</c:v>
                </c:pt>
                <c:pt idx="513">
                  <c:v>134.86199999999999</c:v>
                </c:pt>
                <c:pt idx="514">
                  <c:v>137.80000000000001</c:v>
                </c:pt>
                <c:pt idx="515">
                  <c:v>137.4</c:v>
                </c:pt>
                <c:pt idx="516">
                  <c:v>136.53</c:v>
                </c:pt>
                <c:pt idx="517">
                  <c:v>136.38999999999999</c:v>
                </c:pt>
                <c:pt idx="518">
                  <c:v>137.84299999999999</c:v>
                </c:pt>
                <c:pt idx="519">
                  <c:v>139.755</c:v>
                </c:pt>
                <c:pt idx="520">
                  <c:v>136.28</c:v>
                </c:pt>
                <c:pt idx="521">
                  <c:v>138.24799999999999</c:v>
                </c:pt>
                <c:pt idx="522">
                  <c:v>141.72999999999999</c:v>
                </c:pt>
                <c:pt idx="523">
                  <c:v>142.744</c:v>
                </c:pt>
                <c:pt idx="524">
                  <c:v>140.50899999999999</c:v>
                </c:pt>
                <c:pt idx="525">
                  <c:v>142.65700000000001</c:v>
                </c:pt>
                <c:pt idx="526">
                  <c:v>142.73400000000001</c:v>
                </c:pt>
                <c:pt idx="527">
                  <c:v>140.667</c:v>
                </c:pt>
                <c:pt idx="528">
                  <c:v>145.21299999999999</c:v>
                </c:pt>
                <c:pt idx="529">
                  <c:v>140.67500000000001</c:v>
                </c:pt>
                <c:pt idx="530">
                  <c:v>142.88800000000001</c:v>
                </c:pt>
                <c:pt idx="531">
                  <c:v>139.751</c:v>
                </c:pt>
                <c:pt idx="532">
                  <c:v>142.631</c:v>
                </c:pt>
                <c:pt idx="533">
                  <c:v>140.833</c:v>
                </c:pt>
                <c:pt idx="534">
                  <c:v>141.15600000000001</c:v>
                </c:pt>
                <c:pt idx="535">
                  <c:v>140.21299999999999</c:v>
                </c:pt>
                <c:pt idx="536">
                  <c:v>134.935</c:v>
                </c:pt>
                <c:pt idx="537">
                  <c:v>136.28700000000001</c:v>
                </c:pt>
                <c:pt idx="538">
                  <c:v>139.09899999999999</c:v>
                </c:pt>
                <c:pt idx="539">
                  <c:v>142.57</c:v>
                </c:pt>
                <c:pt idx="540">
                  <c:v>139.62100000000001</c:v>
                </c:pt>
                <c:pt idx="541">
                  <c:v>143.39599999999999</c:v>
                </c:pt>
                <c:pt idx="542">
                  <c:v>139.32599999999999</c:v>
                </c:pt>
                <c:pt idx="543">
                  <c:v>142.94999999999999</c:v>
                </c:pt>
                <c:pt idx="544">
                  <c:v>142.85599999999999</c:v>
                </c:pt>
                <c:pt idx="545">
                  <c:v>138.315</c:v>
                </c:pt>
                <c:pt idx="546">
                  <c:v>140.96100000000001</c:v>
                </c:pt>
                <c:pt idx="547">
                  <c:v>140.989</c:v>
                </c:pt>
                <c:pt idx="548">
                  <c:v>140.75700000000001</c:v>
                </c:pt>
                <c:pt idx="549">
                  <c:v>140.697</c:v>
                </c:pt>
                <c:pt idx="550">
                  <c:v>137.05500000000001</c:v>
                </c:pt>
                <c:pt idx="551">
                  <c:v>142.345</c:v>
                </c:pt>
                <c:pt idx="552">
                  <c:v>141.81899999999999</c:v>
                </c:pt>
                <c:pt idx="553">
                  <c:v>145.20699999999999</c:v>
                </c:pt>
                <c:pt idx="554">
                  <c:v>143.94800000000001</c:v>
                </c:pt>
                <c:pt idx="555">
                  <c:v>142.928</c:v>
                </c:pt>
                <c:pt idx="556">
                  <c:v>143.22999999999999</c:v>
                </c:pt>
                <c:pt idx="557">
                  <c:v>142.845</c:v>
                </c:pt>
                <c:pt idx="558">
                  <c:v>143.44999999999999</c:v>
                </c:pt>
                <c:pt idx="559">
                  <c:v>144.03100000000001</c:v>
                </c:pt>
                <c:pt idx="560">
                  <c:v>142.61000000000001</c:v>
                </c:pt>
                <c:pt idx="561">
                  <c:v>145.464</c:v>
                </c:pt>
                <c:pt idx="562">
                  <c:v>144.07400000000001</c:v>
                </c:pt>
                <c:pt idx="563">
                  <c:v>141.304</c:v>
                </c:pt>
                <c:pt idx="564">
                  <c:v>147.05600000000001</c:v>
                </c:pt>
                <c:pt idx="565">
                  <c:v>146.87299999999999</c:v>
                </c:pt>
                <c:pt idx="566">
                  <c:v>148.40700000000001</c:v>
                </c:pt>
                <c:pt idx="567">
                  <c:v>148.87899999999999</c:v>
                </c:pt>
                <c:pt idx="568">
                  <c:v>153.191</c:v>
                </c:pt>
                <c:pt idx="569">
                  <c:v>157.67500000000001</c:v>
                </c:pt>
                <c:pt idx="570">
                  <c:v>155.93899999999999</c:v>
                </c:pt>
                <c:pt idx="571">
                  <c:v>152.381</c:v>
                </c:pt>
                <c:pt idx="572">
                  <c:v>155.48599999999999</c:v>
                </c:pt>
                <c:pt idx="573">
                  <c:v>159.10599999999999</c:v>
                </c:pt>
                <c:pt idx="574">
                  <c:v>156.971</c:v>
                </c:pt>
                <c:pt idx="575">
                  <c:v>158.035</c:v>
                </c:pt>
                <c:pt idx="576">
                  <c:v>154.881</c:v>
                </c:pt>
                <c:pt idx="577">
                  <c:v>163.08199999999999</c:v>
                </c:pt>
                <c:pt idx="578">
                  <c:v>158.36099999999999</c:v>
                </c:pt>
                <c:pt idx="579">
                  <c:v>159.09700000000001</c:v>
                </c:pt>
                <c:pt idx="580">
                  <c:v>156.774</c:v>
                </c:pt>
                <c:pt idx="581">
                  <c:v>155.476</c:v>
                </c:pt>
                <c:pt idx="582">
                  <c:v>161.542</c:v>
                </c:pt>
                <c:pt idx="583">
                  <c:v>163.29900000000001</c:v>
                </c:pt>
                <c:pt idx="584">
                  <c:v>165.94</c:v>
                </c:pt>
                <c:pt idx="585">
                  <c:v>164.91200000000001</c:v>
                </c:pt>
                <c:pt idx="586">
                  <c:v>164.29599999999999</c:v>
                </c:pt>
                <c:pt idx="587">
                  <c:v>164.095</c:v>
                </c:pt>
                <c:pt idx="588">
                  <c:v>163.89500000000001</c:v>
                </c:pt>
                <c:pt idx="589">
                  <c:v>168.042</c:v>
                </c:pt>
                <c:pt idx="590">
                  <c:v>169.24600000000001</c:v>
                </c:pt>
                <c:pt idx="591">
                  <c:v>170.07499999999999</c:v>
                </c:pt>
                <c:pt idx="592">
                  <c:v>168.02</c:v>
                </c:pt>
                <c:pt idx="593">
                  <c:v>169.18799999999999</c:v>
                </c:pt>
                <c:pt idx="594">
                  <c:v>167.46</c:v>
                </c:pt>
                <c:pt idx="595">
                  <c:v>169.16499999999999</c:v>
                </c:pt>
                <c:pt idx="596">
                  <c:v>167.17400000000001</c:v>
                </c:pt>
                <c:pt idx="597">
                  <c:v>170.755</c:v>
                </c:pt>
                <c:pt idx="598">
                  <c:v>172.34399999999999</c:v>
                </c:pt>
                <c:pt idx="599">
                  <c:v>172.03299999999999</c:v>
                </c:pt>
                <c:pt idx="600">
                  <c:v>176.83</c:v>
                </c:pt>
                <c:pt idx="601">
                  <c:v>176.25</c:v>
                </c:pt>
                <c:pt idx="602">
                  <c:v>181.042</c:v>
                </c:pt>
                <c:pt idx="603">
                  <c:v>180.84399999999999</c:v>
                </c:pt>
                <c:pt idx="604">
                  <c:v>179.328</c:v>
                </c:pt>
                <c:pt idx="605">
                  <c:v>186.017</c:v>
                </c:pt>
                <c:pt idx="606">
                  <c:v>184.66800000000001</c:v>
                </c:pt>
                <c:pt idx="607">
                  <c:v>184.31200000000001</c:v>
                </c:pt>
                <c:pt idx="608">
                  <c:v>180.32400000000001</c:v>
                </c:pt>
                <c:pt idx="609">
                  <c:v>183.08500000000001</c:v>
                </c:pt>
                <c:pt idx="610">
                  <c:v>183.19499999999999</c:v>
                </c:pt>
                <c:pt idx="611">
                  <c:v>177.43</c:v>
                </c:pt>
                <c:pt idx="612">
                  <c:v>180.172</c:v>
                </c:pt>
                <c:pt idx="613">
                  <c:v>185.821</c:v>
                </c:pt>
                <c:pt idx="614">
                  <c:v>182.76</c:v>
                </c:pt>
                <c:pt idx="615">
                  <c:v>185.79900000000001</c:v>
                </c:pt>
                <c:pt idx="616">
                  <c:v>183.64</c:v>
                </c:pt>
                <c:pt idx="617">
                  <c:v>191.167</c:v>
                </c:pt>
                <c:pt idx="618">
                  <c:v>191.07300000000001</c:v>
                </c:pt>
                <c:pt idx="619">
                  <c:v>189.126</c:v>
                </c:pt>
                <c:pt idx="620">
                  <c:v>189.39099999999999</c:v>
                </c:pt>
                <c:pt idx="621">
                  <c:v>192.041</c:v>
                </c:pt>
                <c:pt idx="622">
                  <c:v>193.15299999999999</c:v>
                </c:pt>
                <c:pt idx="623">
                  <c:v>191.578</c:v>
                </c:pt>
                <c:pt idx="624">
                  <c:v>188.01499999999999</c:v>
                </c:pt>
                <c:pt idx="625">
                  <c:v>192.40899999999999</c:v>
                </c:pt>
                <c:pt idx="626">
                  <c:v>196.77500000000001</c:v>
                </c:pt>
                <c:pt idx="627">
                  <c:v>200.78800000000001</c:v>
                </c:pt>
                <c:pt idx="628">
                  <c:v>196.68700000000001</c:v>
                </c:pt>
                <c:pt idx="629">
                  <c:v>197.83699999999999</c:v>
                </c:pt>
                <c:pt idx="630">
                  <c:v>195.351</c:v>
                </c:pt>
                <c:pt idx="631">
                  <c:v>192.12</c:v>
                </c:pt>
                <c:pt idx="632">
                  <c:v>194.131</c:v>
                </c:pt>
                <c:pt idx="633">
                  <c:v>195.92400000000001</c:v>
                </c:pt>
                <c:pt idx="634">
                  <c:v>200.03700000000001</c:v>
                </c:pt>
                <c:pt idx="635">
                  <c:v>198</c:v>
                </c:pt>
                <c:pt idx="636">
                  <c:v>196.976</c:v>
                </c:pt>
                <c:pt idx="637">
                  <c:v>194.09100000000001</c:v>
                </c:pt>
                <c:pt idx="638">
                  <c:v>194.72800000000001</c:v>
                </c:pt>
                <c:pt idx="639">
                  <c:v>194.49600000000001</c:v>
                </c:pt>
                <c:pt idx="640">
                  <c:v>198.05500000000001</c:v>
                </c:pt>
                <c:pt idx="641">
                  <c:v>191.79499999999999</c:v>
                </c:pt>
                <c:pt idx="642">
                  <c:v>196.239</c:v>
                </c:pt>
                <c:pt idx="643">
                  <c:v>192.80099999999999</c:v>
                </c:pt>
                <c:pt idx="644">
                  <c:v>201.26</c:v>
                </c:pt>
                <c:pt idx="645">
                  <c:v>195.73</c:v>
                </c:pt>
                <c:pt idx="646">
                  <c:v>194.12</c:v>
                </c:pt>
                <c:pt idx="647">
                  <c:v>197.65299999999999</c:v>
                </c:pt>
                <c:pt idx="648">
                  <c:v>195.816</c:v>
                </c:pt>
                <c:pt idx="649">
                  <c:v>198.613</c:v>
                </c:pt>
                <c:pt idx="650">
                  <c:v>200.768</c:v>
                </c:pt>
                <c:pt idx="651">
                  <c:v>199.89599999999999</c:v>
                </c:pt>
                <c:pt idx="652">
                  <c:v>197.67099999999999</c:v>
                </c:pt>
                <c:pt idx="653">
                  <c:v>205.39099999999999</c:v>
                </c:pt>
                <c:pt idx="654">
                  <c:v>200.29400000000001</c:v>
                </c:pt>
                <c:pt idx="655">
                  <c:v>208.34800000000001</c:v>
                </c:pt>
                <c:pt idx="656">
                  <c:v>207.577</c:v>
                </c:pt>
                <c:pt idx="657">
                  <c:v>210.727</c:v>
                </c:pt>
                <c:pt idx="658">
                  <c:v>219.50200000000001</c:v>
                </c:pt>
                <c:pt idx="659">
                  <c:v>218.643</c:v>
                </c:pt>
                <c:pt idx="660">
                  <c:v>213.64599999999999</c:v>
                </c:pt>
                <c:pt idx="661">
                  <c:v>218.50700000000001</c:v>
                </c:pt>
                <c:pt idx="662">
                  <c:v>231.04900000000001</c:v>
                </c:pt>
                <c:pt idx="663">
                  <c:v>230.995</c:v>
                </c:pt>
                <c:pt idx="664">
                  <c:v>229.82900000000001</c:v>
                </c:pt>
                <c:pt idx="665">
                  <c:v>231.86799999999999</c:v>
                </c:pt>
                <c:pt idx="666">
                  <c:v>236.547</c:v>
                </c:pt>
                <c:pt idx="667">
                  <c:v>235.816</c:v>
                </c:pt>
                <c:pt idx="668">
                  <c:v>237.63200000000001</c:v>
                </c:pt>
                <c:pt idx="669">
                  <c:v>242.518</c:v>
                </c:pt>
                <c:pt idx="670">
                  <c:v>244.886</c:v>
                </c:pt>
                <c:pt idx="671">
                  <c:v>238.636</c:v>
                </c:pt>
                <c:pt idx="672">
                  <c:v>243.13499999999999</c:v>
                </c:pt>
                <c:pt idx="673">
                  <c:v>248.04599999999999</c:v>
                </c:pt>
                <c:pt idx="674">
                  <c:v>244.005</c:v>
                </c:pt>
                <c:pt idx="675">
                  <c:v>243.60900000000001</c:v>
                </c:pt>
                <c:pt idx="676">
                  <c:v>244.16200000000001</c:v>
                </c:pt>
                <c:pt idx="677">
                  <c:v>242.04900000000001</c:v>
                </c:pt>
                <c:pt idx="678">
                  <c:v>245.39099999999999</c:v>
                </c:pt>
                <c:pt idx="679">
                  <c:v>249.90899999999999</c:v>
                </c:pt>
                <c:pt idx="680">
                  <c:v>244.791</c:v>
                </c:pt>
                <c:pt idx="681">
                  <c:v>240.351</c:v>
                </c:pt>
                <c:pt idx="682">
                  <c:v>237.28899999999999</c:v>
                </c:pt>
                <c:pt idx="683">
                  <c:v>247.66900000000001</c:v>
                </c:pt>
                <c:pt idx="684">
                  <c:v>241.29900000000001</c:v>
                </c:pt>
                <c:pt idx="685">
                  <c:v>243.82900000000001</c:v>
                </c:pt>
                <c:pt idx="686">
                  <c:v>236.76</c:v>
                </c:pt>
                <c:pt idx="687">
                  <c:v>240.13499999999999</c:v>
                </c:pt>
                <c:pt idx="688">
                  <c:v>240.49100000000001</c:v>
                </c:pt>
                <c:pt idx="689">
                  <c:v>245.62799999999999</c:v>
                </c:pt>
                <c:pt idx="690">
                  <c:v>252.37299999999999</c:v>
                </c:pt>
                <c:pt idx="691">
                  <c:v>248.119</c:v>
                </c:pt>
                <c:pt idx="692">
                  <c:v>242.18199999999999</c:v>
                </c:pt>
                <c:pt idx="693">
                  <c:v>246.422</c:v>
                </c:pt>
                <c:pt idx="694">
                  <c:v>248.048</c:v>
                </c:pt>
                <c:pt idx="695">
                  <c:v>243.90799999999999</c:v>
                </c:pt>
                <c:pt idx="696">
                  <c:v>250.55600000000001</c:v>
                </c:pt>
                <c:pt idx="697">
                  <c:v>257.64600000000002</c:v>
                </c:pt>
                <c:pt idx="698">
                  <c:v>261.94299999999998</c:v>
                </c:pt>
                <c:pt idx="699">
                  <c:v>259.88</c:v>
                </c:pt>
                <c:pt idx="700">
                  <c:v>256.54300000000001</c:v>
                </c:pt>
                <c:pt idx="701">
                  <c:v>272.01100000000002</c:v>
                </c:pt>
                <c:pt idx="702">
                  <c:v>271.64499999999998</c:v>
                </c:pt>
                <c:pt idx="703">
                  <c:v>278.63600000000002</c:v>
                </c:pt>
                <c:pt idx="704">
                  <c:v>283.81099999999998</c:v>
                </c:pt>
                <c:pt idx="705">
                  <c:v>280.91800000000001</c:v>
                </c:pt>
                <c:pt idx="706">
                  <c:v>283.18700000000001</c:v>
                </c:pt>
                <c:pt idx="707">
                  <c:v>290.09899999999999</c:v>
                </c:pt>
                <c:pt idx="708">
                  <c:v>293.11099999999999</c:v>
                </c:pt>
                <c:pt idx="709">
                  <c:v>297.274</c:v>
                </c:pt>
                <c:pt idx="710">
                  <c:v>297.04500000000002</c:v>
                </c:pt>
                <c:pt idx="711">
                  <c:v>301.5</c:v>
                </c:pt>
                <c:pt idx="712">
                  <c:v>303.02600000000001</c:v>
                </c:pt>
                <c:pt idx="713">
                  <c:v>312.33999999999997</c:v>
                </c:pt>
                <c:pt idx="714">
                  <c:v>307.99200000000002</c:v>
                </c:pt>
                <c:pt idx="715">
                  <c:v>308.61900000000003</c:v>
                </c:pt>
                <c:pt idx="716">
                  <c:v>310.00700000000001</c:v>
                </c:pt>
                <c:pt idx="717">
                  <c:v>320.75700000000001</c:v>
                </c:pt>
                <c:pt idx="718">
                  <c:v>308.36599999999999</c:v>
                </c:pt>
                <c:pt idx="719">
                  <c:v>316.065</c:v>
                </c:pt>
                <c:pt idx="720">
                  <c:v>329.19799999999998</c:v>
                </c:pt>
                <c:pt idx="721">
                  <c:v>335.16300000000001</c:v>
                </c:pt>
                <c:pt idx="722">
                  <c:v>334.101</c:v>
                </c:pt>
                <c:pt idx="723">
                  <c:v>342.34500000000003</c:v>
                </c:pt>
                <c:pt idx="724">
                  <c:v>350.07400000000001</c:v>
                </c:pt>
                <c:pt idx="725">
                  <c:v>356.505</c:v>
                </c:pt>
                <c:pt idx="726">
                  <c:v>372.24299999999999</c:v>
                </c:pt>
                <c:pt idx="727">
                  <c:v>372.38099999999997</c:v>
                </c:pt>
                <c:pt idx="728">
                  <c:v>372.67</c:v>
                </c:pt>
                <c:pt idx="729">
                  <c:v>390.87</c:v>
                </c:pt>
                <c:pt idx="730">
                  <c:v>393.15199999999999</c:v>
                </c:pt>
                <c:pt idx="731">
                  <c:v>404.173</c:v>
                </c:pt>
                <c:pt idx="732">
                  <c:v>410.42599999999999</c:v>
                </c:pt>
                <c:pt idx="733">
                  <c:v>409.267</c:v>
                </c:pt>
                <c:pt idx="734">
                  <c:v>419.96800000000002</c:v>
                </c:pt>
                <c:pt idx="735">
                  <c:v>428.41300000000001</c:v>
                </c:pt>
                <c:pt idx="736">
                  <c:v>432.08699999999999</c:v>
                </c:pt>
                <c:pt idx="737">
                  <c:v>440.96800000000002</c:v>
                </c:pt>
                <c:pt idx="738">
                  <c:v>462.96499999999997</c:v>
                </c:pt>
                <c:pt idx="739">
                  <c:v>478.51400000000001</c:v>
                </c:pt>
                <c:pt idx="740">
                  <c:v>466.755</c:v>
                </c:pt>
                <c:pt idx="741">
                  <c:v>494.96499999999997</c:v>
                </c:pt>
                <c:pt idx="742">
                  <c:v>494.08800000000002</c:v>
                </c:pt>
                <c:pt idx="743">
                  <c:v>494.55399999999997</c:v>
                </c:pt>
                <c:pt idx="744">
                  <c:v>463.06400000000002</c:v>
                </c:pt>
                <c:pt idx="745">
                  <c:v>492.05799999999999</c:v>
                </c:pt>
                <c:pt idx="746">
                  <c:v>508.09</c:v>
                </c:pt>
                <c:pt idx="747">
                  <c:v>516.59299999999996</c:v>
                </c:pt>
                <c:pt idx="748">
                  <c:v>522.87699999999995</c:v>
                </c:pt>
                <c:pt idx="749">
                  <c:v>535.55600000000004</c:v>
                </c:pt>
                <c:pt idx="750">
                  <c:v>535.37900000000002</c:v>
                </c:pt>
                <c:pt idx="751">
                  <c:v>529.06399999999996</c:v>
                </c:pt>
                <c:pt idx="752">
                  <c:v>530.66600000000005</c:v>
                </c:pt>
                <c:pt idx="753">
                  <c:v>558.14599999999996</c:v>
                </c:pt>
                <c:pt idx="754">
                  <c:v>563.56299999999999</c:v>
                </c:pt>
                <c:pt idx="755">
                  <c:v>597.66800000000001</c:v>
                </c:pt>
                <c:pt idx="756">
                  <c:v>609.19000000000005</c:v>
                </c:pt>
                <c:pt idx="757">
                  <c:v>605.80600000000004</c:v>
                </c:pt>
                <c:pt idx="758">
                  <c:v>618.98800000000006</c:v>
                </c:pt>
                <c:pt idx="759">
                  <c:v>604.92700000000002</c:v>
                </c:pt>
                <c:pt idx="760">
                  <c:v>634.94600000000003</c:v>
                </c:pt>
                <c:pt idx="761">
                  <c:v>634.68700000000001</c:v>
                </c:pt>
                <c:pt idx="762">
                  <c:v>648.35500000000002</c:v>
                </c:pt>
                <c:pt idx="763">
                  <c:v>656.27200000000005</c:v>
                </c:pt>
                <c:pt idx="764">
                  <c:v>653.94799999999998</c:v>
                </c:pt>
                <c:pt idx="765">
                  <c:v>693.25400000000002</c:v>
                </c:pt>
                <c:pt idx="766">
                  <c:v>706.57799999999997</c:v>
                </c:pt>
                <c:pt idx="767">
                  <c:v>736.83299999999997</c:v>
                </c:pt>
                <c:pt idx="768">
                  <c:v>751.39099999999996</c:v>
                </c:pt>
                <c:pt idx="769">
                  <c:v>754.57</c:v>
                </c:pt>
                <c:pt idx="770">
                  <c:v>807.99800000000005</c:v>
                </c:pt>
                <c:pt idx="771">
                  <c:v>834.38199999999995</c:v>
                </c:pt>
                <c:pt idx="772">
                  <c:v>852.59799999999996</c:v>
                </c:pt>
                <c:pt idx="773">
                  <c:v>891.28</c:v>
                </c:pt>
                <c:pt idx="774">
                  <c:v>945.73299999999995</c:v>
                </c:pt>
                <c:pt idx="775">
                  <c:v>964.03099999999995</c:v>
                </c:pt>
                <c:pt idx="776">
                  <c:v>1044.568</c:v>
                </c:pt>
                <c:pt idx="777">
                  <c:v>1040.5139999999999</c:v>
                </c:pt>
                <c:pt idx="778">
                  <c:v>1104.973</c:v>
                </c:pt>
                <c:pt idx="779">
                  <c:v>1140.242</c:v>
                </c:pt>
                <c:pt idx="780">
                  <c:v>1203.979</c:v>
                </c:pt>
                <c:pt idx="781">
                  <c:v>1271.098</c:v>
                </c:pt>
                <c:pt idx="782">
                  <c:v>1288.8230000000001</c:v>
                </c:pt>
                <c:pt idx="783">
                  <c:v>1425.617</c:v>
                </c:pt>
                <c:pt idx="784">
                  <c:v>1465.377</c:v>
                </c:pt>
                <c:pt idx="785">
                  <c:v>1555.42</c:v>
                </c:pt>
                <c:pt idx="786">
                  <c:v>1700.2950000000001</c:v>
                </c:pt>
                <c:pt idx="787">
                  <c:v>1788.836</c:v>
                </c:pt>
                <c:pt idx="788">
                  <c:v>1938.7660000000001</c:v>
                </c:pt>
                <c:pt idx="789">
                  <c:v>2052.04</c:v>
                </c:pt>
                <c:pt idx="790">
                  <c:v>2116.7660000000001</c:v>
                </c:pt>
                <c:pt idx="791">
                  <c:v>2263.489</c:v>
                </c:pt>
                <c:pt idx="792">
                  <c:v>2410.3470000000002</c:v>
                </c:pt>
                <c:pt idx="793">
                  <c:v>2508.136</c:v>
                </c:pt>
                <c:pt idx="794">
                  <c:v>2647.9209999999998</c:v>
                </c:pt>
                <c:pt idx="795">
                  <c:v>2653.8960000000002</c:v>
                </c:pt>
                <c:pt idx="796">
                  <c:v>2646.355</c:v>
                </c:pt>
                <c:pt idx="797">
                  <c:v>2649.7269999999999</c:v>
                </c:pt>
                <c:pt idx="798">
                  <c:v>2410.2759999999998</c:v>
                </c:pt>
                <c:pt idx="799">
                  <c:v>2149.64</c:v>
                </c:pt>
                <c:pt idx="800">
                  <c:v>1955.4770000000001</c:v>
                </c:pt>
                <c:pt idx="801">
                  <c:v>1642.1590000000001</c:v>
                </c:pt>
                <c:pt idx="802">
                  <c:v>882.51</c:v>
                </c:pt>
                <c:pt idx="803">
                  <c:v>390.16199999999998</c:v>
                </c:pt>
                <c:pt idx="804">
                  <c:v>106.658</c:v>
                </c:pt>
                <c:pt idx="805">
                  <c:v>22.518000000000001</c:v>
                </c:pt>
                <c:pt idx="806">
                  <c:v>14.678000000000001</c:v>
                </c:pt>
                <c:pt idx="807">
                  <c:v>14.228</c:v>
                </c:pt>
                <c:pt idx="808">
                  <c:v>13.72</c:v>
                </c:pt>
                <c:pt idx="809">
                  <c:v>14.189</c:v>
                </c:pt>
                <c:pt idx="810">
                  <c:v>12.688000000000001</c:v>
                </c:pt>
                <c:pt idx="811">
                  <c:v>11.263999999999999</c:v>
                </c:pt>
                <c:pt idx="812">
                  <c:v>9.3550000000000004</c:v>
                </c:pt>
                <c:pt idx="813">
                  <c:v>7.0949999999999998</c:v>
                </c:pt>
                <c:pt idx="814">
                  <c:v>4.2869999999999999</c:v>
                </c:pt>
                <c:pt idx="815">
                  <c:v>1.5289999999999999</c:v>
                </c:pt>
                <c:pt idx="816">
                  <c:v>0.71599999999999997</c:v>
                </c:pt>
                <c:pt idx="817">
                  <c:v>0.97</c:v>
                </c:pt>
                <c:pt idx="818">
                  <c:v>1</c:v>
                </c:pt>
                <c:pt idx="819">
                  <c:v>1</c:v>
                </c:pt>
                <c:pt idx="820">
                  <c:v>1</c:v>
                </c:pt>
                <c:pt idx="821">
                  <c:v>1</c:v>
                </c:pt>
                <c:pt idx="822">
                  <c:v>1</c:v>
                </c:pt>
                <c:pt idx="823">
                  <c:v>1</c:v>
                </c:pt>
                <c:pt idx="824">
                  <c:v>1</c:v>
                </c:pt>
                <c:pt idx="825">
                  <c:v>1</c:v>
                </c:pt>
                <c:pt idx="826">
                  <c:v>1</c:v>
                </c:pt>
                <c:pt idx="827">
                  <c:v>1</c:v>
                </c:pt>
                <c:pt idx="828">
                  <c:v>1</c:v>
                </c:pt>
                <c:pt idx="829">
                  <c:v>1</c:v>
                </c:pt>
                <c:pt idx="830">
                  <c:v>1</c:v>
                </c:pt>
                <c:pt idx="831">
                  <c:v>1</c:v>
                </c:pt>
                <c:pt idx="832">
                  <c:v>1</c:v>
                </c:pt>
                <c:pt idx="833">
                  <c:v>1</c:v>
                </c:pt>
                <c:pt idx="834">
                  <c:v>1</c:v>
                </c:pt>
                <c:pt idx="835">
                  <c:v>1</c:v>
                </c:pt>
                <c:pt idx="836">
                  <c:v>1</c:v>
                </c:pt>
                <c:pt idx="837">
                  <c:v>1</c:v>
                </c:pt>
                <c:pt idx="838">
                  <c:v>1</c:v>
                </c:pt>
                <c:pt idx="839">
                  <c:v>1</c:v>
                </c:pt>
                <c:pt idx="840">
                  <c:v>1</c:v>
                </c:pt>
                <c:pt idx="841">
                  <c:v>1</c:v>
                </c:pt>
                <c:pt idx="842">
                  <c:v>1</c:v>
                </c:pt>
                <c:pt idx="843">
                  <c:v>1</c:v>
                </c:pt>
                <c:pt idx="844">
                  <c:v>1</c:v>
                </c:pt>
                <c:pt idx="845">
                  <c:v>1</c:v>
                </c:pt>
                <c:pt idx="846">
                  <c:v>1</c:v>
                </c:pt>
                <c:pt idx="847">
                  <c:v>1</c:v>
                </c:pt>
                <c:pt idx="848">
                  <c:v>1</c:v>
                </c:pt>
                <c:pt idx="849">
                  <c:v>1</c:v>
                </c:pt>
                <c:pt idx="850">
                  <c:v>1</c:v>
                </c:pt>
                <c:pt idx="851">
                  <c:v>1</c:v>
                </c:pt>
                <c:pt idx="852">
                  <c:v>1</c:v>
                </c:pt>
                <c:pt idx="853">
                  <c:v>1</c:v>
                </c:pt>
                <c:pt idx="854">
                  <c:v>1</c:v>
                </c:pt>
                <c:pt idx="855">
                  <c:v>1</c:v>
                </c:pt>
                <c:pt idx="856">
                  <c:v>1</c:v>
                </c:pt>
                <c:pt idx="857">
                  <c:v>1</c:v>
                </c:pt>
                <c:pt idx="858">
                  <c:v>1</c:v>
                </c:pt>
                <c:pt idx="859">
                  <c:v>1</c:v>
                </c:pt>
                <c:pt idx="860">
                  <c:v>1</c:v>
                </c:pt>
                <c:pt idx="861">
                  <c:v>1</c:v>
                </c:pt>
                <c:pt idx="862">
                  <c:v>1</c:v>
                </c:pt>
                <c:pt idx="863">
                  <c:v>1</c:v>
                </c:pt>
                <c:pt idx="864">
                  <c:v>1</c:v>
                </c:pt>
                <c:pt idx="865">
                  <c:v>1</c:v>
                </c:pt>
                <c:pt idx="866">
                  <c:v>1</c:v>
                </c:pt>
                <c:pt idx="867">
                  <c:v>1</c:v>
                </c:pt>
                <c:pt idx="868">
                  <c:v>1</c:v>
                </c:pt>
                <c:pt idx="869">
                  <c:v>1</c:v>
                </c:pt>
                <c:pt idx="870">
                  <c:v>1</c:v>
                </c:pt>
                <c:pt idx="871">
                  <c:v>1</c:v>
                </c:pt>
                <c:pt idx="872">
                  <c:v>1</c:v>
                </c:pt>
                <c:pt idx="873">
                  <c:v>1</c:v>
                </c:pt>
                <c:pt idx="874">
                  <c:v>1</c:v>
                </c:pt>
                <c:pt idx="875">
                  <c:v>1</c:v>
                </c:pt>
                <c:pt idx="876">
                  <c:v>1</c:v>
                </c:pt>
                <c:pt idx="877">
                  <c:v>1</c:v>
                </c:pt>
                <c:pt idx="878">
                  <c:v>1</c:v>
                </c:pt>
                <c:pt idx="879">
                  <c:v>1</c:v>
                </c:pt>
                <c:pt idx="880">
                  <c:v>1</c:v>
                </c:pt>
                <c:pt idx="881">
                  <c:v>1</c:v>
                </c:pt>
                <c:pt idx="882">
                  <c:v>1</c:v>
                </c:pt>
                <c:pt idx="883">
                  <c:v>1</c:v>
                </c:pt>
                <c:pt idx="884">
                  <c:v>1</c:v>
                </c:pt>
                <c:pt idx="885">
                  <c:v>1</c:v>
                </c:pt>
                <c:pt idx="886">
                  <c:v>1</c:v>
                </c:pt>
                <c:pt idx="887">
                  <c:v>1</c:v>
                </c:pt>
                <c:pt idx="888">
                  <c:v>1</c:v>
                </c:pt>
                <c:pt idx="889">
                  <c:v>1</c:v>
                </c:pt>
                <c:pt idx="890">
                  <c:v>1</c:v>
                </c:pt>
                <c:pt idx="891">
                  <c:v>1</c:v>
                </c:pt>
                <c:pt idx="892">
                  <c:v>1</c:v>
                </c:pt>
                <c:pt idx="893">
                  <c:v>1</c:v>
                </c:pt>
                <c:pt idx="894">
                  <c:v>1</c:v>
                </c:pt>
                <c:pt idx="895">
                  <c:v>1</c:v>
                </c:pt>
                <c:pt idx="896">
                  <c:v>1</c:v>
                </c:pt>
                <c:pt idx="897">
                  <c:v>1</c:v>
                </c:pt>
                <c:pt idx="898">
                  <c:v>1</c:v>
                </c:pt>
                <c:pt idx="89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3179632"/>
        <c:axId val="393178848"/>
      </c:lineChart>
      <c:catAx>
        <c:axId val="39317963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178848"/>
        <c:crosses val="autoZero"/>
        <c:auto val="1"/>
        <c:lblAlgn val="ctr"/>
        <c:lblOffset val="100"/>
        <c:noMultiLvlLbl val="0"/>
      </c:catAx>
      <c:valAx>
        <c:axId val="393178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179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8/6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06/08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06/08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ray</a:t>
            </a:r>
            <a:r>
              <a:rPr lang="en-GB" dirty="0" smtClean="0"/>
              <a:t> scale linear ramp no clips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" y="805780"/>
            <a:ext cx="9174932" cy="516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 5%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6" y="836712"/>
            <a:ext cx="908901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s 5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</a:t>
            </a:r>
            <a:r>
              <a:rPr lang="en-GB" dirty="0" smtClean="0"/>
              <a:t>logarithmic ramp </a:t>
            </a:r>
            <a:r>
              <a:rPr lang="en-GB" dirty="0"/>
              <a:t>clips </a:t>
            </a:r>
            <a:r>
              <a:rPr lang="en-GB" dirty="0" smtClean="0"/>
              <a:t>0% </a:t>
            </a:r>
            <a:r>
              <a:rPr lang="en-GB" dirty="0"/>
              <a:t>+ Inverted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3401"/>
            <a:ext cx="9112674" cy="512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</a:t>
            </a:r>
            <a:r>
              <a:rPr lang="en-GB" dirty="0" smtClean="0"/>
              <a:t>scale logarithmic ramp </a:t>
            </a:r>
            <a:r>
              <a:rPr lang="en-GB" dirty="0"/>
              <a:t>clips 5</a:t>
            </a:r>
            <a:r>
              <a:rPr lang="en-GB" dirty="0" smtClean="0"/>
              <a:t>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47" y="836712"/>
            <a:ext cx="9147548" cy="51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am Correction Curves (Port)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823340"/>
              </p:ext>
            </p:extLst>
          </p:nvPr>
        </p:nvGraphicFramePr>
        <p:xfrm>
          <a:off x="107504" y="836712"/>
          <a:ext cx="8928992" cy="20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3326486"/>
              </p:ext>
            </p:extLst>
          </p:nvPr>
        </p:nvGraphicFramePr>
        <p:xfrm>
          <a:off x="107504" y="3284984"/>
          <a:ext cx="8928991" cy="1895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aw Data, per degree ARC and cumulative ARC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257" y="1029520"/>
            <a:ext cx="8531486" cy="4798961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1547664" y="1366441"/>
            <a:ext cx="2520280" cy="1440160"/>
          </a:xfrm>
          <a:prstGeom prst="wedgeRoundRectCallout">
            <a:avLst>
              <a:gd name="adj1" fmla="val 149280"/>
              <a:gd name="adj2" fmla="val 12060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1 degree resolution is insufficient for characterising near nadir transitions</a:t>
            </a:r>
            <a:endParaRPr lang="en-AU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1460884" y="3009410"/>
            <a:ext cx="2520280" cy="1440160"/>
          </a:xfrm>
          <a:prstGeom prst="wedgeRoundRectCallout">
            <a:avLst>
              <a:gd name="adj1" fmla="val 128401"/>
              <a:gd name="adj2" fmla="val 7687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Instant ARC is representative of the current trace given the noise level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am Correction – Port Channel All pings Averag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519854"/>
              </p:ext>
            </p:extLst>
          </p:nvPr>
        </p:nvGraphicFramePr>
        <p:xfrm>
          <a:off x="107504" y="908720"/>
          <a:ext cx="8856984" cy="3120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0008972"/>
              </p:ext>
            </p:extLst>
          </p:nvPr>
        </p:nvGraphicFramePr>
        <p:xfrm>
          <a:off x="223822" y="3941631"/>
          <a:ext cx="874066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83</TotalTime>
  <Words>149</Words>
  <Application>Microsoft Office PowerPoint</Application>
  <PresentationFormat>On-screen Show (4:3)</PresentationFormat>
  <Paragraphs>48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Gray scale linear ramp no clips</vt:lpstr>
      <vt:lpstr>Gray scale linear ramp clip 5%</vt:lpstr>
      <vt:lpstr>Gray scale linear ramp clips 5% + Inverted</vt:lpstr>
      <vt:lpstr>Gray scale logarithmic ramp clips 0% + Inverted</vt:lpstr>
      <vt:lpstr>Gray scale logarithmic ramp clips 5% + Inverted</vt:lpstr>
      <vt:lpstr>Beam Correction Curves (Port)</vt:lpstr>
      <vt:lpstr>Raw Data, per degree ARC and cumulative ARC</vt:lpstr>
      <vt:lpstr>Beam Correction – Port Channel All pings Averaged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21</cp:revision>
  <cp:lastPrinted>2014-07-03T06:58:13Z</cp:lastPrinted>
  <dcterms:created xsi:type="dcterms:W3CDTF">2016-06-19T03:12:04Z</dcterms:created>
  <dcterms:modified xsi:type="dcterms:W3CDTF">2016-08-06T14:47:32Z</dcterms:modified>
</cp:coreProperties>
</file>